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4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4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</p:sldMasterIdLst>
  <p:notesMasterIdLst>
    <p:notesMasterId r:id="rId13"/>
  </p:notesMasterIdLst>
  <p:handoutMasterIdLst>
    <p:handoutMasterId r:id="rId14"/>
  </p:handoutMasterIdLst>
  <p:sldIdLst>
    <p:sldId id="530" r:id="rId2"/>
    <p:sldId id="272" r:id="rId3"/>
    <p:sldId id="331" r:id="rId4"/>
    <p:sldId id="368" r:id="rId5"/>
    <p:sldId id="327" r:id="rId6"/>
    <p:sldId id="364" r:id="rId7"/>
    <p:sldId id="388" r:id="rId8"/>
    <p:sldId id="531" r:id="rId9"/>
    <p:sldId id="532" r:id="rId10"/>
    <p:sldId id="533" r:id="rId11"/>
    <p:sldId id="373" r:id="rId1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6081" autoAdjust="0"/>
  </p:normalViewPr>
  <p:slideViewPr>
    <p:cSldViewPr showGuides="1">
      <p:cViewPr varScale="1">
        <p:scale>
          <a:sx n="98" d="100"/>
          <a:sy n="98" d="100"/>
        </p:scale>
        <p:origin x="990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3156" y="17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BC8D5B3-5D05-44FE-9539-97CAF417B3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FF6DCE-602F-4FA4-A2AD-B14D2A98E9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046A3-4902-4EC9-95D7-A3EDABBB9CA3}" type="datetimeFigureOut">
              <a:rPr lang="de-DE" smtClean="0"/>
              <a:t>03.01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ADBCEA-6581-46DF-AB13-E4EC45AFB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7A7C86-2A85-4165-819B-9DE8FC8549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1F8CC-7071-40CE-8835-ECFAFB1E83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34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97160" y="8856984"/>
            <a:ext cx="2971800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21288" y="8856984"/>
            <a:ext cx="739552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1FB20EB5-88DF-4EA6-8586-32EED35EC0E5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5C2C10B-0819-4C9E-AC5E-FBB29FBE4A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9424" y="755576"/>
            <a:ext cx="1412776" cy="251108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97152" y="8856984"/>
            <a:ext cx="1152128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31A75A65-F437-4B55-8084-F9CC046EDB3A}" type="datetimeFigureOut">
              <a:rPr lang="de-DE" smtClean="0"/>
              <a:t>03.01.20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747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b="1" kern="1200">
        <a:solidFill>
          <a:schemeClr val="tx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6155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85033292-F3AB-C9CC-70CA-E8FA37300498}"/>
              </a:ext>
            </a:extLst>
          </p:cNvPr>
          <p:cNvSpPr/>
          <p:nvPr userDrawn="1"/>
        </p:nvSpPr>
        <p:spPr>
          <a:xfrm>
            <a:off x="983432" y="0"/>
            <a:ext cx="9529567" cy="6273801"/>
          </a:xfrm>
          <a:custGeom>
            <a:avLst/>
            <a:gdLst>
              <a:gd name="connsiteX0" fmla="*/ 734598 w 9529567"/>
              <a:gd name="connsiteY0" fmla="*/ 0 h 6273801"/>
              <a:gd name="connsiteX1" fmla="*/ 7516279 w 9529567"/>
              <a:gd name="connsiteY1" fmla="*/ 0 h 6273801"/>
              <a:gd name="connsiteX2" fmla="*/ 7516279 w 9529567"/>
              <a:gd name="connsiteY2" fmla="*/ 1426072 h 6273801"/>
              <a:gd name="connsiteX3" fmla="*/ 3517334 w 9529567"/>
              <a:gd name="connsiteY3" fmla="*/ 1426072 h 6273801"/>
              <a:gd name="connsiteX4" fmla="*/ 2104084 w 9529567"/>
              <a:gd name="connsiteY4" fmla="*/ 2843283 h 6273801"/>
              <a:gd name="connsiteX5" fmla="*/ 3517334 w 9529567"/>
              <a:gd name="connsiteY5" fmla="*/ 4260493 h 6273801"/>
              <a:gd name="connsiteX6" fmla="*/ 9529567 w 9529567"/>
              <a:gd name="connsiteY6" fmla="*/ 4260493 h 6273801"/>
              <a:gd name="connsiteX7" fmla="*/ 9529567 w 9529567"/>
              <a:gd name="connsiteY7" fmla="*/ 6273801 h 6273801"/>
              <a:gd name="connsiteX8" fmla="*/ 3426539 w 9529567"/>
              <a:gd name="connsiteY8" fmla="*/ 6273801 h 6273801"/>
              <a:gd name="connsiteX9" fmla="*/ 0 w 9529567"/>
              <a:gd name="connsiteY9" fmla="*/ 2843283 h 6273801"/>
              <a:gd name="connsiteX10" fmla="*/ 1093492 w 9529567"/>
              <a:gd name="connsiteY10" fmla="*/ 415471 h 6273801"/>
              <a:gd name="connsiteX11" fmla="*/ 869696 w 9529567"/>
              <a:gd name="connsiteY11" fmla="*/ 172235 h 62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529567" h="6273801">
                <a:moveTo>
                  <a:pt x="734598" y="0"/>
                </a:moveTo>
                <a:lnTo>
                  <a:pt x="7516279" y="0"/>
                </a:lnTo>
                <a:lnTo>
                  <a:pt x="7516279" y="1426072"/>
                </a:lnTo>
                <a:lnTo>
                  <a:pt x="3517334" y="1426072"/>
                </a:lnTo>
                <a:cubicBezTo>
                  <a:pt x="2735704" y="1426072"/>
                  <a:pt x="2104084" y="2061646"/>
                  <a:pt x="2104084" y="2843283"/>
                </a:cubicBezTo>
                <a:cubicBezTo>
                  <a:pt x="2104084" y="3624919"/>
                  <a:pt x="2735704" y="4260493"/>
                  <a:pt x="3517334" y="4260493"/>
                </a:cubicBezTo>
                <a:lnTo>
                  <a:pt x="9529567" y="4260493"/>
                </a:lnTo>
                <a:lnTo>
                  <a:pt x="9529567" y="6273801"/>
                </a:lnTo>
                <a:lnTo>
                  <a:pt x="3426539" y="6273801"/>
                </a:lnTo>
                <a:cubicBezTo>
                  <a:pt x="1531679" y="6273801"/>
                  <a:pt x="0" y="4738161"/>
                  <a:pt x="0" y="2843283"/>
                </a:cubicBezTo>
                <a:cubicBezTo>
                  <a:pt x="0" y="1895844"/>
                  <a:pt x="477663" y="1039202"/>
                  <a:pt x="1093492" y="415471"/>
                </a:cubicBezTo>
                <a:cubicBezTo>
                  <a:pt x="1016514" y="337998"/>
                  <a:pt x="941694" y="256824"/>
                  <a:pt x="869696" y="172235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69F9524A-8D90-310E-E7A7-3BEF8A910BCA}"/>
              </a:ext>
            </a:extLst>
          </p:cNvPr>
          <p:cNvSpPr/>
          <p:nvPr userDrawn="1"/>
        </p:nvSpPr>
        <p:spPr>
          <a:xfrm>
            <a:off x="5977014" y="4251960"/>
            <a:ext cx="2021840" cy="202184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9051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2A8A6C6-E707-43C9-99C3-A494EA2D5E50}"/>
              </a:ext>
            </a:extLst>
          </p:cNvPr>
          <p:cNvSpPr>
            <a:spLocks noChangeAspect="1"/>
          </p:cNvSpPr>
          <p:nvPr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D2644276-7A07-48BA-911D-C588031B6791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165EEF7-244B-A939-77AD-EB331D77F7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286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34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3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3337" y="1844675"/>
            <a:ext cx="5400675" cy="442912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467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2851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2533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536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55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8640762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8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03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5595DBE0-EE4F-92F9-EC78-6F1C89F70FB7}"/>
              </a:ext>
            </a:extLst>
          </p:cNvPr>
          <p:cNvSpPr/>
          <p:nvPr userDrawn="1"/>
        </p:nvSpPr>
        <p:spPr>
          <a:xfrm>
            <a:off x="983432" y="0"/>
            <a:ext cx="9529567" cy="6273801"/>
          </a:xfrm>
          <a:custGeom>
            <a:avLst/>
            <a:gdLst>
              <a:gd name="connsiteX0" fmla="*/ 734598 w 9529567"/>
              <a:gd name="connsiteY0" fmla="*/ 0 h 6273801"/>
              <a:gd name="connsiteX1" fmla="*/ 7516279 w 9529567"/>
              <a:gd name="connsiteY1" fmla="*/ 0 h 6273801"/>
              <a:gd name="connsiteX2" fmla="*/ 7516279 w 9529567"/>
              <a:gd name="connsiteY2" fmla="*/ 1426072 h 6273801"/>
              <a:gd name="connsiteX3" fmla="*/ 3517334 w 9529567"/>
              <a:gd name="connsiteY3" fmla="*/ 1426072 h 6273801"/>
              <a:gd name="connsiteX4" fmla="*/ 2104084 w 9529567"/>
              <a:gd name="connsiteY4" fmla="*/ 2843283 h 6273801"/>
              <a:gd name="connsiteX5" fmla="*/ 3517334 w 9529567"/>
              <a:gd name="connsiteY5" fmla="*/ 4260493 h 6273801"/>
              <a:gd name="connsiteX6" fmla="*/ 9529567 w 9529567"/>
              <a:gd name="connsiteY6" fmla="*/ 4260493 h 6273801"/>
              <a:gd name="connsiteX7" fmla="*/ 9529567 w 9529567"/>
              <a:gd name="connsiteY7" fmla="*/ 6273801 h 6273801"/>
              <a:gd name="connsiteX8" fmla="*/ 3426539 w 9529567"/>
              <a:gd name="connsiteY8" fmla="*/ 6273801 h 6273801"/>
              <a:gd name="connsiteX9" fmla="*/ 0 w 9529567"/>
              <a:gd name="connsiteY9" fmla="*/ 2843283 h 6273801"/>
              <a:gd name="connsiteX10" fmla="*/ 1093492 w 9529567"/>
              <a:gd name="connsiteY10" fmla="*/ 415471 h 6273801"/>
              <a:gd name="connsiteX11" fmla="*/ 869696 w 9529567"/>
              <a:gd name="connsiteY11" fmla="*/ 172235 h 62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529567" h="6273801">
                <a:moveTo>
                  <a:pt x="734598" y="0"/>
                </a:moveTo>
                <a:lnTo>
                  <a:pt x="7516279" y="0"/>
                </a:lnTo>
                <a:lnTo>
                  <a:pt x="7516279" y="1426072"/>
                </a:lnTo>
                <a:lnTo>
                  <a:pt x="3517334" y="1426072"/>
                </a:lnTo>
                <a:cubicBezTo>
                  <a:pt x="2735704" y="1426072"/>
                  <a:pt x="2104084" y="2061646"/>
                  <a:pt x="2104084" y="2843283"/>
                </a:cubicBezTo>
                <a:cubicBezTo>
                  <a:pt x="2104084" y="3624919"/>
                  <a:pt x="2735704" y="4260493"/>
                  <a:pt x="3517334" y="4260493"/>
                </a:cubicBezTo>
                <a:lnTo>
                  <a:pt x="9529567" y="4260493"/>
                </a:lnTo>
                <a:lnTo>
                  <a:pt x="9529567" y="6273801"/>
                </a:lnTo>
                <a:lnTo>
                  <a:pt x="3426539" y="6273801"/>
                </a:lnTo>
                <a:cubicBezTo>
                  <a:pt x="1531679" y="6273801"/>
                  <a:pt x="0" y="4738161"/>
                  <a:pt x="0" y="2843283"/>
                </a:cubicBezTo>
                <a:cubicBezTo>
                  <a:pt x="0" y="1895844"/>
                  <a:pt x="477663" y="1039202"/>
                  <a:pt x="1093492" y="415471"/>
                </a:cubicBezTo>
                <a:cubicBezTo>
                  <a:pt x="1016514" y="337998"/>
                  <a:pt x="941694" y="256824"/>
                  <a:pt x="869696" y="172235"/>
                </a:cubicBezTo>
                <a:close/>
              </a:path>
            </a:pathLst>
          </a:custGeom>
          <a:solidFill>
            <a:schemeClr val="accent1">
              <a:lumMod val="90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86F9352-8282-325A-F5FD-3A69C8B44B05}"/>
              </a:ext>
            </a:extLst>
          </p:cNvPr>
          <p:cNvSpPr/>
          <p:nvPr userDrawn="1"/>
        </p:nvSpPr>
        <p:spPr>
          <a:xfrm>
            <a:off x="5977014" y="4251960"/>
            <a:ext cx="2021840" cy="202184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9051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2A8A6C6-E707-43C9-99C3-A494EA2D5E50}"/>
              </a:ext>
            </a:extLst>
          </p:cNvPr>
          <p:cNvSpPr/>
          <p:nvPr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A87932C-4D22-4141-B519-E07D846D4123}"/>
              </a:ext>
            </a:extLst>
          </p:cNvPr>
          <p:cNvSpPr/>
          <p:nvPr userDrawn="1"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42C6386-9B59-F261-CA21-EB4AF47FC3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286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78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uideline für PowerPoint | Januar 2023</a:t>
            </a:r>
            <a:endParaRPr lang="de-DE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86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097271A6-7643-4452-AB9C-8883A0DAFA62}"/>
              </a:ext>
            </a:extLst>
          </p:cNvPr>
          <p:cNvSpPr/>
          <p:nvPr userDrawn="1"/>
        </p:nvSpPr>
        <p:spPr>
          <a:xfrm>
            <a:off x="1055440" y="1485002"/>
            <a:ext cx="9451359" cy="5372999"/>
          </a:xfrm>
          <a:custGeom>
            <a:avLst/>
            <a:gdLst>
              <a:gd name="connsiteX0" fmla="*/ 3399827 w 9451359"/>
              <a:gd name="connsiteY0" fmla="*/ 0 h 5372999"/>
              <a:gd name="connsiteX1" fmla="*/ 9451359 w 9451359"/>
              <a:gd name="connsiteY1" fmla="*/ 0 h 5372999"/>
              <a:gd name="connsiteX2" fmla="*/ 9451359 w 9451359"/>
              <a:gd name="connsiteY2" fmla="*/ 2001529 h 5372999"/>
              <a:gd name="connsiteX3" fmla="*/ 3489914 w 9451359"/>
              <a:gd name="connsiteY3" fmla="*/ 2001529 h 5372999"/>
              <a:gd name="connsiteX4" fmla="*/ 2087681 w 9451359"/>
              <a:gd name="connsiteY4" fmla="*/ 3407691 h 5372999"/>
              <a:gd name="connsiteX5" fmla="*/ 3489914 w 9451359"/>
              <a:gd name="connsiteY5" fmla="*/ 4813854 h 5372999"/>
              <a:gd name="connsiteX6" fmla="*/ 7457684 w 9451359"/>
              <a:gd name="connsiteY6" fmla="*/ 4813854 h 5372999"/>
              <a:gd name="connsiteX7" fmla="*/ 7457684 w 9451359"/>
              <a:gd name="connsiteY7" fmla="*/ 5372999 h 5372999"/>
              <a:gd name="connsiteX8" fmla="*/ 710430 w 9451359"/>
              <a:gd name="connsiteY8" fmla="*/ 5372999 h 5372999"/>
              <a:gd name="connsiteX9" fmla="*/ 657664 w 9451359"/>
              <a:gd name="connsiteY9" fmla="*/ 5305728 h 5372999"/>
              <a:gd name="connsiteX10" fmla="*/ 0 w 9451359"/>
              <a:gd name="connsiteY10" fmla="*/ 3403774 h 5372999"/>
              <a:gd name="connsiteX11" fmla="*/ 3399827 w 9451359"/>
              <a:gd name="connsiteY11" fmla="*/ 0 h 537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51359" h="5372999">
                <a:moveTo>
                  <a:pt x="3399827" y="0"/>
                </a:moveTo>
                <a:lnTo>
                  <a:pt x="9451359" y="0"/>
                </a:lnTo>
                <a:lnTo>
                  <a:pt x="9451359" y="2001529"/>
                </a:lnTo>
                <a:lnTo>
                  <a:pt x="3489914" y="2001529"/>
                </a:lnTo>
                <a:cubicBezTo>
                  <a:pt x="2714377" y="2001529"/>
                  <a:pt x="2087681" y="2632148"/>
                  <a:pt x="2087681" y="3407691"/>
                </a:cubicBezTo>
                <a:cubicBezTo>
                  <a:pt x="2087681" y="4183235"/>
                  <a:pt x="2714377" y="4813854"/>
                  <a:pt x="3489914" y="4813854"/>
                </a:cubicBezTo>
                <a:lnTo>
                  <a:pt x="7457684" y="4813854"/>
                </a:lnTo>
                <a:lnTo>
                  <a:pt x="7457684" y="5372999"/>
                </a:lnTo>
                <a:lnTo>
                  <a:pt x="710430" y="5372999"/>
                </a:lnTo>
                <a:lnTo>
                  <a:pt x="657664" y="5305728"/>
                </a:lnTo>
                <a:cubicBezTo>
                  <a:pt x="266591" y="4763179"/>
                  <a:pt x="0" y="4108814"/>
                  <a:pt x="0" y="3403774"/>
                </a:cubicBezTo>
                <a:cubicBezTo>
                  <a:pt x="0" y="1523669"/>
                  <a:pt x="1519739" y="0"/>
                  <a:pt x="3399827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6FCEDA72-1D5E-4AE0-BD89-1CF0272BA4ED}"/>
              </a:ext>
            </a:extLst>
          </p:cNvPr>
          <p:cNvSpPr/>
          <p:nvPr/>
        </p:nvSpPr>
        <p:spPr>
          <a:xfrm flipH="1">
            <a:off x="0" y="3151264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anchor="b" anchorCtr="0"/>
          <a:lstStyle>
            <a:lvl1pPr>
              <a:defRPr sz="9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7E52066E-7251-44D0-8D69-A816E7D96687}"/>
              </a:ext>
            </a:extLst>
          </p:cNvPr>
          <p:cNvSpPr/>
          <p:nvPr userDrawn="1"/>
        </p:nvSpPr>
        <p:spPr>
          <a:xfrm flipH="1">
            <a:off x="0" y="3151264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08D677D-4F75-E3BF-E872-582B7A2C08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286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06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E90A31F-1D2C-5D5E-6B33-CC9D6E005B34}"/>
              </a:ext>
            </a:extLst>
          </p:cNvPr>
          <p:cNvSpPr/>
          <p:nvPr userDrawn="1"/>
        </p:nvSpPr>
        <p:spPr>
          <a:xfrm>
            <a:off x="983432" y="0"/>
            <a:ext cx="9529567" cy="6273801"/>
          </a:xfrm>
          <a:custGeom>
            <a:avLst/>
            <a:gdLst>
              <a:gd name="connsiteX0" fmla="*/ 734598 w 9529567"/>
              <a:gd name="connsiteY0" fmla="*/ 0 h 6273801"/>
              <a:gd name="connsiteX1" fmla="*/ 7516279 w 9529567"/>
              <a:gd name="connsiteY1" fmla="*/ 0 h 6273801"/>
              <a:gd name="connsiteX2" fmla="*/ 7516279 w 9529567"/>
              <a:gd name="connsiteY2" fmla="*/ 1426072 h 6273801"/>
              <a:gd name="connsiteX3" fmla="*/ 3517334 w 9529567"/>
              <a:gd name="connsiteY3" fmla="*/ 1426072 h 6273801"/>
              <a:gd name="connsiteX4" fmla="*/ 2104084 w 9529567"/>
              <a:gd name="connsiteY4" fmla="*/ 2843283 h 6273801"/>
              <a:gd name="connsiteX5" fmla="*/ 3517334 w 9529567"/>
              <a:gd name="connsiteY5" fmla="*/ 4260493 h 6273801"/>
              <a:gd name="connsiteX6" fmla="*/ 9529567 w 9529567"/>
              <a:gd name="connsiteY6" fmla="*/ 4260493 h 6273801"/>
              <a:gd name="connsiteX7" fmla="*/ 9529567 w 9529567"/>
              <a:gd name="connsiteY7" fmla="*/ 6273801 h 6273801"/>
              <a:gd name="connsiteX8" fmla="*/ 3426539 w 9529567"/>
              <a:gd name="connsiteY8" fmla="*/ 6273801 h 6273801"/>
              <a:gd name="connsiteX9" fmla="*/ 0 w 9529567"/>
              <a:gd name="connsiteY9" fmla="*/ 2843283 h 6273801"/>
              <a:gd name="connsiteX10" fmla="*/ 1093492 w 9529567"/>
              <a:gd name="connsiteY10" fmla="*/ 415471 h 6273801"/>
              <a:gd name="connsiteX11" fmla="*/ 869696 w 9529567"/>
              <a:gd name="connsiteY11" fmla="*/ 172235 h 62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529567" h="6273801">
                <a:moveTo>
                  <a:pt x="734598" y="0"/>
                </a:moveTo>
                <a:lnTo>
                  <a:pt x="7516279" y="0"/>
                </a:lnTo>
                <a:lnTo>
                  <a:pt x="7516279" y="1426072"/>
                </a:lnTo>
                <a:lnTo>
                  <a:pt x="3517334" y="1426072"/>
                </a:lnTo>
                <a:cubicBezTo>
                  <a:pt x="2735704" y="1426072"/>
                  <a:pt x="2104084" y="2061646"/>
                  <a:pt x="2104084" y="2843283"/>
                </a:cubicBezTo>
                <a:cubicBezTo>
                  <a:pt x="2104084" y="3624919"/>
                  <a:pt x="2735704" y="4260493"/>
                  <a:pt x="3517334" y="4260493"/>
                </a:cubicBezTo>
                <a:lnTo>
                  <a:pt x="9529567" y="4260493"/>
                </a:lnTo>
                <a:lnTo>
                  <a:pt x="9529567" y="6273801"/>
                </a:lnTo>
                <a:lnTo>
                  <a:pt x="3426539" y="6273801"/>
                </a:lnTo>
                <a:cubicBezTo>
                  <a:pt x="1531679" y="6273801"/>
                  <a:pt x="0" y="4738161"/>
                  <a:pt x="0" y="2843283"/>
                </a:cubicBezTo>
                <a:cubicBezTo>
                  <a:pt x="0" y="1895844"/>
                  <a:pt x="477663" y="1039202"/>
                  <a:pt x="1093492" y="415471"/>
                </a:cubicBezTo>
                <a:cubicBezTo>
                  <a:pt x="1016514" y="337998"/>
                  <a:pt x="941694" y="256824"/>
                  <a:pt x="869696" y="172235"/>
                </a:cubicBezTo>
                <a:close/>
              </a:path>
            </a:pathLst>
          </a:custGeom>
          <a:solidFill>
            <a:schemeClr val="accent1">
              <a:lumMod val="90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6FCEDA72-1D5E-4AE0-BD89-1CF0272BA4ED}"/>
              </a:ext>
            </a:extLst>
          </p:cNvPr>
          <p:cNvSpPr/>
          <p:nvPr/>
        </p:nvSpPr>
        <p:spPr>
          <a:xfrm flipH="1">
            <a:off x="0" y="3151264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buClr>
                <a:schemeClr val="accent1">
                  <a:lumMod val="9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buClr>
                <a:schemeClr val="accent1">
                  <a:lumMod val="9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anchor="b" anchorCtr="0"/>
          <a:lstStyle>
            <a:lvl1pPr>
              <a:defRPr sz="9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4587CA48-264C-462E-A519-745EF9F7CC46}"/>
              </a:ext>
            </a:extLst>
          </p:cNvPr>
          <p:cNvSpPr/>
          <p:nvPr userDrawn="1"/>
        </p:nvSpPr>
        <p:spPr>
          <a:xfrm flipH="1">
            <a:off x="0" y="3151264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B4103DC-A58E-C3E9-5899-6A6930A32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286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64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hell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480EABB2-4EFD-4E1C-AAAC-6D32FA2099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498824 h 6858000"/>
              <a:gd name="connsiteX5" fmla="*/ 1562605 w 12192000"/>
              <a:gd name="connsiteY5" fmla="*/ 4498824 h 6858000"/>
              <a:gd name="connsiteX6" fmla="*/ 1717265 w 12192000"/>
              <a:gd name="connsiteY6" fmla="*/ 4448598 h 6858000"/>
              <a:gd name="connsiteX7" fmla="*/ 1775520 w 12192000"/>
              <a:gd name="connsiteY7" fmla="*/ 4305950 h 6858000"/>
              <a:gd name="connsiteX8" fmla="*/ 1717318 w 12192000"/>
              <a:gd name="connsiteY8" fmla="*/ 4163302 h 6858000"/>
              <a:gd name="connsiteX9" fmla="*/ 1562655 w 12192000"/>
              <a:gd name="connsiteY9" fmla="*/ 4113076 h 6858000"/>
              <a:gd name="connsiteX10" fmla="*/ 0 w 12192000"/>
              <a:gd name="connsiteY10" fmla="*/ 41130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498824"/>
                </a:lnTo>
                <a:lnTo>
                  <a:pt x="1562605" y="4498824"/>
                </a:lnTo>
                <a:cubicBezTo>
                  <a:pt x="1626895" y="4498824"/>
                  <a:pt x="1678388" y="4482151"/>
                  <a:pt x="1717265" y="4448598"/>
                </a:cubicBezTo>
                <a:cubicBezTo>
                  <a:pt x="1756137" y="4415148"/>
                  <a:pt x="1775520" y="4367634"/>
                  <a:pt x="1775520" y="4305950"/>
                </a:cubicBezTo>
                <a:cubicBezTo>
                  <a:pt x="1775520" y="4244316"/>
                  <a:pt x="1756137" y="4196865"/>
                  <a:pt x="1717318" y="4163302"/>
                </a:cubicBezTo>
                <a:cubicBezTo>
                  <a:pt x="1678450" y="4129853"/>
                  <a:pt x="1626948" y="4113076"/>
                  <a:pt x="1562655" y="4113076"/>
                </a:cubicBezTo>
                <a:lnTo>
                  <a:pt x="0" y="4113076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9051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5" name="SmartArt-Platzhalter 4">
            <a:extLst>
              <a:ext uri="{FF2B5EF4-FFF2-40B4-BE49-F238E27FC236}">
                <a16:creationId xmlns:a16="http://schemas.microsoft.com/office/drawing/2014/main" id="{F5F2BB4B-DF9C-A761-F528-167CE4401B7A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9645600" y="379819"/>
            <a:ext cx="2138400" cy="3816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9532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dunk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45372CA-F5A0-4B5C-8263-408D85F3406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498824 h 6858000"/>
              <a:gd name="connsiteX5" fmla="*/ 1562605 w 12192000"/>
              <a:gd name="connsiteY5" fmla="*/ 4498824 h 6858000"/>
              <a:gd name="connsiteX6" fmla="*/ 1717265 w 12192000"/>
              <a:gd name="connsiteY6" fmla="*/ 4448598 h 6858000"/>
              <a:gd name="connsiteX7" fmla="*/ 1775520 w 12192000"/>
              <a:gd name="connsiteY7" fmla="*/ 4305950 h 6858000"/>
              <a:gd name="connsiteX8" fmla="*/ 1717318 w 12192000"/>
              <a:gd name="connsiteY8" fmla="*/ 4163302 h 6858000"/>
              <a:gd name="connsiteX9" fmla="*/ 1562655 w 12192000"/>
              <a:gd name="connsiteY9" fmla="*/ 4113076 h 6858000"/>
              <a:gd name="connsiteX10" fmla="*/ 0 w 12192000"/>
              <a:gd name="connsiteY10" fmla="*/ 41130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498824"/>
                </a:lnTo>
                <a:lnTo>
                  <a:pt x="1562605" y="4498824"/>
                </a:lnTo>
                <a:cubicBezTo>
                  <a:pt x="1626895" y="4498824"/>
                  <a:pt x="1678388" y="4482151"/>
                  <a:pt x="1717265" y="4448598"/>
                </a:cubicBezTo>
                <a:cubicBezTo>
                  <a:pt x="1756137" y="4415148"/>
                  <a:pt x="1775520" y="4367634"/>
                  <a:pt x="1775520" y="4305950"/>
                </a:cubicBezTo>
                <a:cubicBezTo>
                  <a:pt x="1775520" y="4244316"/>
                  <a:pt x="1756137" y="4196865"/>
                  <a:pt x="1717318" y="4163302"/>
                </a:cubicBezTo>
                <a:cubicBezTo>
                  <a:pt x="1678450" y="4129853"/>
                  <a:pt x="1626948" y="4113076"/>
                  <a:pt x="1562655" y="4113076"/>
                </a:cubicBezTo>
                <a:lnTo>
                  <a:pt x="0" y="4113076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9051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4" name="SmartArt-Platzhalter 4">
            <a:extLst>
              <a:ext uri="{FF2B5EF4-FFF2-40B4-BE49-F238E27FC236}">
                <a16:creationId xmlns:a16="http://schemas.microsoft.com/office/drawing/2014/main" id="{8099313C-CBE4-5B66-01E2-41EED55B57C9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9645600" y="379819"/>
            <a:ext cx="2138400" cy="3816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475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B90C024-01E0-F0E6-BCFF-9E636E90380C}"/>
              </a:ext>
            </a:extLst>
          </p:cNvPr>
          <p:cNvSpPr/>
          <p:nvPr userDrawn="1"/>
        </p:nvSpPr>
        <p:spPr>
          <a:xfrm>
            <a:off x="1055440" y="1485002"/>
            <a:ext cx="9451359" cy="5372999"/>
          </a:xfrm>
          <a:custGeom>
            <a:avLst/>
            <a:gdLst>
              <a:gd name="connsiteX0" fmla="*/ 3399827 w 9451359"/>
              <a:gd name="connsiteY0" fmla="*/ 0 h 5372999"/>
              <a:gd name="connsiteX1" fmla="*/ 9451359 w 9451359"/>
              <a:gd name="connsiteY1" fmla="*/ 0 h 5372999"/>
              <a:gd name="connsiteX2" fmla="*/ 9451359 w 9451359"/>
              <a:gd name="connsiteY2" fmla="*/ 2001529 h 5372999"/>
              <a:gd name="connsiteX3" fmla="*/ 3489914 w 9451359"/>
              <a:gd name="connsiteY3" fmla="*/ 2001529 h 5372999"/>
              <a:gd name="connsiteX4" fmla="*/ 2087681 w 9451359"/>
              <a:gd name="connsiteY4" fmla="*/ 3407691 h 5372999"/>
              <a:gd name="connsiteX5" fmla="*/ 3489914 w 9451359"/>
              <a:gd name="connsiteY5" fmla="*/ 4813854 h 5372999"/>
              <a:gd name="connsiteX6" fmla="*/ 7457684 w 9451359"/>
              <a:gd name="connsiteY6" fmla="*/ 4813854 h 5372999"/>
              <a:gd name="connsiteX7" fmla="*/ 7457684 w 9451359"/>
              <a:gd name="connsiteY7" fmla="*/ 5372999 h 5372999"/>
              <a:gd name="connsiteX8" fmla="*/ 710430 w 9451359"/>
              <a:gd name="connsiteY8" fmla="*/ 5372999 h 5372999"/>
              <a:gd name="connsiteX9" fmla="*/ 657664 w 9451359"/>
              <a:gd name="connsiteY9" fmla="*/ 5305728 h 5372999"/>
              <a:gd name="connsiteX10" fmla="*/ 0 w 9451359"/>
              <a:gd name="connsiteY10" fmla="*/ 3403774 h 5372999"/>
              <a:gd name="connsiteX11" fmla="*/ 3399827 w 9451359"/>
              <a:gd name="connsiteY11" fmla="*/ 0 h 537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51359" h="5372999">
                <a:moveTo>
                  <a:pt x="3399827" y="0"/>
                </a:moveTo>
                <a:lnTo>
                  <a:pt x="9451359" y="0"/>
                </a:lnTo>
                <a:lnTo>
                  <a:pt x="9451359" y="2001529"/>
                </a:lnTo>
                <a:lnTo>
                  <a:pt x="3489914" y="2001529"/>
                </a:lnTo>
                <a:cubicBezTo>
                  <a:pt x="2714377" y="2001529"/>
                  <a:pt x="2087681" y="2632148"/>
                  <a:pt x="2087681" y="3407691"/>
                </a:cubicBezTo>
                <a:cubicBezTo>
                  <a:pt x="2087681" y="4183235"/>
                  <a:pt x="2714377" y="4813854"/>
                  <a:pt x="3489914" y="4813854"/>
                </a:cubicBezTo>
                <a:lnTo>
                  <a:pt x="7457684" y="4813854"/>
                </a:lnTo>
                <a:lnTo>
                  <a:pt x="7457684" y="5372999"/>
                </a:lnTo>
                <a:lnTo>
                  <a:pt x="710430" y="5372999"/>
                </a:lnTo>
                <a:lnTo>
                  <a:pt x="657664" y="5305728"/>
                </a:lnTo>
                <a:cubicBezTo>
                  <a:pt x="266591" y="4763179"/>
                  <a:pt x="0" y="4108814"/>
                  <a:pt x="0" y="3403774"/>
                </a:cubicBezTo>
                <a:cubicBezTo>
                  <a:pt x="0" y="1523669"/>
                  <a:pt x="1519739" y="0"/>
                  <a:pt x="3399827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9FB1F0B-0AB8-AA6E-7F7C-567586CB86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286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93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5F146392-104B-F089-C53C-B69DFAFDAECE}"/>
              </a:ext>
            </a:extLst>
          </p:cNvPr>
          <p:cNvSpPr/>
          <p:nvPr userDrawn="1"/>
        </p:nvSpPr>
        <p:spPr>
          <a:xfrm>
            <a:off x="983432" y="0"/>
            <a:ext cx="9529567" cy="6273801"/>
          </a:xfrm>
          <a:custGeom>
            <a:avLst/>
            <a:gdLst>
              <a:gd name="connsiteX0" fmla="*/ 734598 w 9529567"/>
              <a:gd name="connsiteY0" fmla="*/ 0 h 6273801"/>
              <a:gd name="connsiteX1" fmla="*/ 7516279 w 9529567"/>
              <a:gd name="connsiteY1" fmla="*/ 0 h 6273801"/>
              <a:gd name="connsiteX2" fmla="*/ 7516279 w 9529567"/>
              <a:gd name="connsiteY2" fmla="*/ 1426072 h 6273801"/>
              <a:gd name="connsiteX3" fmla="*/ 3517334 w 9529567"/>
              <a:gd name="connsiteY3" fmla="*/ 1426072 h 6273801"/>
              <a:gd name="connsiteX4" fmla="*/ 2104084 w 9529567"/>
              <a:gd name="connsiteY4" fmla="*/ 2843283 h 6273801"/>
              <a:gd name="connsiteX5" fmla="*/ 3517334 w 9529567"/>
              <a:gd name="connsiteY5" fmla="*/ 4260493 h 6273801"/>
              <a:gd name="connsiteX6" fmla="*/ 9529567 w 9529567"/>
              <a:gd name="connsiteY6" fmla="*/ 4260493 h 6273801"/>
              <a:gd name="connsiteX7" fmla="*/ 9529567 w 9529567"/>
              <a:gd name="connsiteY7" fmla="*/ 6273801 h 6273801"/>
              <a:gd name="connsiteX8" fmla="*/ 3426539 w 9529567"/>
              <a:gd name="connsiteY8" fmla="*/ 6273801 h 6273801"/>
              <a:gd name="connsiteX9" fmla="*/ 0 w 9529567"/>
              <a:gd name="connsiteY9" fmla="*/ 2843283 h 6273801"/>
              <a:gd name="connsiteX10" fmla="*/ 1093492 w 9529567"/>
              <a:gd name="connsiteY10" fmla="*/ 415471 h 6273801"/>
              <a:gd name="connsiteX11" fmla="*/ 869696 w 9529567"/>
              <a:gd name="connsiteY11" fmla="*/ 172235 h 62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529567" h="6273801">
                <a:moveTo>
                  <a:pt x="734598" y="0"/>
                </a:moveTo>
                <a:lnTo>
                  <a:pt x="7516279" y="0"/>
                </a:lnTo>
                <a:lnTo>
                  <a:pt x="7516279" y="1426072"/>
                </a:lnTo>
                <a:lnTo>
                  <a:pt x="3517334" y="1426072"/>
                </a:lnTo>
                <a:cubicBezTo>
                  <a:pt x="2735704" y="1426072"/>
                  <a:pt x="2104084" y="2061646"/>
                  <a:pt x="2104084" y="2843283"/>
                </a:cubicBezTo>
                <a:cubicBezTo>
                  <a:pt x="2104084" y="3624919"/>
                  <a:pt x="2735704" y="4260493"/>
                  <a:pt x="3517334" y="4260493"/>
                </a:cubicBezTo>
                <a:lnTo>
                  <a:pt x="9529567" y="4260493"/>
                </a:lnTo>
                <a:lnTo>
                  <a:pt x="9529567" y="6273801"/>
                </a:lnTo>
                <a:lnTo>
                  <a:pt x="3426539" y="6273801"/>
                </a:lnTo>
                <a:cubicBezTo>
                  <a:pt x="1531679" y="6273801"/>
                  <a:pt x="0" y="4738161"/>
                  <a:pt x="0" y="2843283"/>
                </a:cubicBezTo>
                <a:cubicBezTo>
                  <a:pt x="0" y="1895844"/>
                  <a:pt x="477663" y="1039202"/>
                  <a:pt x="1093492" y="415471"/>
                </a:cubicBezTo>
                <a:cubicBezTo>
                  <a:pt x="1016514" y="337998"/>
                  <a:pt x="941694" y="256824"/>
                  <a:pt x="869696" y="172235"/>
                </a:cubicBezTo>
                <a:close/>
              </a:path>
            </a:pathLst>
          </a:custGeom>
          <a:solidFill>
            <a:schemeClr val="accent1">
              <a:lumMod val="90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CBA4780-67DC-755C-E8C1-900FC5659E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286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2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1C52AD0-A5C9-74E3-FF14-99C28A583898}"/>
              </a:ext>
            </a:extLst>
          </p:cNvPr>
          <p:cNvSpPr/>
          <p:nvPr userDrawn="1"/>
        </p:nvSpPr>
        <p:spPr>
          <a:xfrm>
            <a:off x="1055440" y="1485002"/>
            <a:ext cx="9451359" cy="5372999"/>
          </a:xfrm>
          <a:custGeom>
            <a:avLst/>
            <a:gdLst>
              <a:gd name="connsiteX0" fmla="*/ 3399827 w 9451359"/>
              <a:gd name="connsiteY0" fmla="*/ 0 h 5372999"/>
              <a:gd name="connsiteX1" fmla="*/ 9451359 w 9451359"/>
              <a:gd name="connsiteY1" fmla="*/ 0 h 5372999"/>
              <a:gd name="connsiteX2" fmla="*/ 9451359 w 9451359"/>
              <a:gd name="connsiteY2" fmla="*/ 2001529 h 5372999"/>
              <a:gd name="connsiteX3" fmla="*/ 3489914 w 9451359"/>
              <a:gd name="connsiteY3" fmla="*/ 2001529 h 5372999"/>
              <a:gd name="connsiteX4" fmla="*/ 2087681 w 9451359"/>
              <a:gd name="connsiteY4" fmla="*/ 3407691 h 5372999"/>
              <a:gd name="connsiteX5" fmla="*/ 3489914 w 9451359"/>
              <a:gd name="connsiteY5" fmla="*/ 4813854 h 5372999"/>
              <a:gd name="connsiteX6" fmla="*/ 7457684 w 9451359"/>
              <a:gd name="connsiteY6" fmla="*/ 4813854 h 5372999"/>
              <a:gd name="connsiteX7" fmla="*/ 7457684 w 9451359"/>
              <a:gd name="connsiteY7" fmla="*/ 5372999 h 5372999"/>
              <a:gd name="connsiteX8" fmla="*/ 710430 w 9451359"/>
              <a:gd name="connsiteY8" fmla="*/ 5372999 h 5372999"/>
              <a:gd name="connsiteX9" fmla="*/ 657664 w 9451359"/>
              <a:gd name="connsiteY9" fmla="*/ 5305728 h 5372999"/>
              <a:gd name="connsiteX10" fmla="*/ 0 w 9451359"/>
              <a:gd name="connsiteY10" fmla="*/ 3403774 h 5372999"/>
              <a:gd name="connsiteX11" fmla="*/ 3399827 w 9451359"/>
              <a:gd name="connsiteY11" fmla="*/ 0 h 537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51359" h="5372999">
                <a:moveTo>
                  <a:pt x="3399827" y="0"/>
                </a:moveTo>
                <a:lnTo>
                  <a:pt x="9451359" y="0"/>
                </a:lnTo>
                <a:lnTo>
                  <a:pt x="9451359" y="2001529"/>
                </a:lnTo>
                <a:lnTo>
                  <a:pt x="3489914" y="2001529"/>
                </a:lnTo>
                <a:cubicBezTo>
                  <a:pt x="2714377" y="2001529"/>
                  <a:pt x="2087681" y="2632148"/>
                  <a:pt x="2087681" y="3407691"/>
                </a:cubicBezTo>
                <a:cubicBezTo>
                  <a:pt x="2087681" y="4183235"/>
                  <a:pt x="2714377" y="4813854"/>
                  <a:pt x="3489914" y="4813854"/>
                </a:cubicBezTo>
                <a:lnTo>
                  <a:pt x="7457684" y="4813854"/>
                </a:lnTo>
                <a:lnTo>
                  <a:pt x="7457684" y="5372999"/>
                </a:lnTo>
                <a:lnTo>
                  <a:pt x="710430" y="5372999"/>
                </a:lnTo>
                <a:lnTo>
                  <a:pt x="657664" y="5305728"/>
                </a:lnTo>
                <a:cubicBezTo>
                  <a:pt x="266591" y="4763179"/>
                  <a:pt x="0" y="4108814"/>
                  <a:pt x="0" y="3403774"/>
                </a:cubicBezTo>
                <a:cubicBezTo>
                  <a:pt x="0" y="1523669"/>
                  <a:pt x="1519739" y="0"/>
                  <a:pt x="3399827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882015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344463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EB96D43B-84C5-4A12-A034-744816F52942}"/>
              </a:ext>
            </a:extLst>
          </p:cNvPr>
          <p:cNvSpPr/>
          <p:nvPr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58CEE80D-8612-4B0C-93F3-748435F05436}"/>
              </a:ext>
            </a:extLst>
          </p:cNvPr>
          <p:cNvSpPr/>
          <p:nvPr userDrawn="1"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96F770C-2DFB-49EA-9C00-0D1C24015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286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72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C47388DD-9124-7D19-45A6-77FF6D9C27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6120"/>
          <a:stretch>
            <a:fillRect/>
          </a:stretch>
        </p:blipFill>
        <p:spPr>
          <a:xfrm>
            <a:off x="1055440" y="0"/>
            <a:ext cx="9474300" cy="6381000"/>
          </a:xfrm>
          <a:custGeom>
            <a:avLst/>
            <a:gdLst>
              <a:gd name="connsiteX0" fmla="*/ 0 w 9474300"/>
              <a:gd name="connsiteY0" fmla="*/ 0 h 6381000"/>
              <a:gd name="connsiteX1" fmla="*/ 9474300 w 9474300"/>
              <a:gd name="connsiteY1" fmla="*/ 0 h 6381000"/>
              <a:gd name="connsiteX2" fmla="*/ 9474300 w 9474300"/>
              <a:gd name="connsiteY2" fmla="*/ 6381000 h 6381000"/>
              <a:gd name="connsiteX3" fmla="*/ 0 w 9474300"/>
              <a:gd name="connsiteY3" fmla="*/ 6381000 h 6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74300" h="6381000">
                <a:moveTo>
                  <a:pt x="0" y="0"/>
                </a:moveTo>
                <a:lnTo>
                  <a:pt x="9474300" y="0"/>
                </a:lnTo>
                <a:lnTo>
                  <a:pt x="9474300" y="6381000"/>
                </a:lnTo>
                <a:lnTo>
                  <a:pt x="0" y="6381000"/>
                </a:lnTo>
                <a:close/>
              </a:path>
            </a:pathLst>
          </a:cu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882015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344463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tx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8A79D3C8-C9A7-41B6-A03F-7EB25BD38B95}"/>
              </a:ext>
            </a:extLst>
          </p:cNvPr>
          <p:cNvSpPr/>
          <p:nvPr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B0624D60-DAF7-47CA-AEAA-1F6D3D3F68EC}"/>
              </a:ext>
            </a:extLst>
          </p:cNvPr>
          <p:cNvSpPr/>
          <p:nvPr userDrawn="1"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3BD46E5-6ED2-7BE0-2ED5-4768B010ED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651286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10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117138" cy="442912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73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117137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Guideline für PowerPoint | Januar 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E8FB2C14-F35D-4285-853B-3DB5DF6A4561}"/>
              </a:ext>
            </a:extLst>
          </p:cNvPr>
          <p:cNvSpPr/>
          <p:nvPr/>
        </p:nvSpPr>
        <p:spPr>
          <a:xfrm>
            <a:off x="0" y="1412808"/>
            <a:ext cx="1126829" cy="215992"/>
          </a:xfrm>
          <a:custGeom>
            <a:avLst/>
            <a:gdLst>
              <a:gd name="connsiteX0" fmla="*/ 0 w 1126829"/>
              <a:gd name="connsiteY0" fmla="*/ 0 h 215992"/>
              <a:gd name="connsiteX1" fmla="*/ 1018833 w 1126829"/>
              <a:gd name="connsiteY1" fmla="*/ 0 h 215992"/>
              <a:gd name="connsiteX2" fmla="*/ 1126829 w 1126829"/>
              <a:gd name="connsiteY2" fmla="*/ 107996 h 215992"/>
              <a:gd name="connsiteX3" fmla="*/ 1018833 w 1126829"/>
              <a:gd name="connsiteY3" fmla="*/ 215992 h 215992"/>
              <a:gd name="connsiteX4" fmla="*/ 0 w 1126829"/>
              <a:gd name="connsiteY4" fmla="*/ 215992 h 21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6829" h="215992">
                <a:moveTo>
                  <a:pt x="0" y="0"/>
                </a:moveTo>
                <a:lnTo>
                  <a:pt x="1018833" y="0"/>
                </a:lnTo>
                <a:cubicBezTo>
                  <a:pt x="1078478" y="0"/>
                  <a:pt x="1126829" y="48351"/>
                  <a:pt x="1126829" y="107996"/>
                </a:cubicBezTo>
                <a:cubicBezTo>
                  <a:pt x="1126829" y="167641"/>
                  <a:pt x="1078478" y="215992"/>
                  <a:pt x="1018833" y="215992"/>
                </a:cubicBezTo>
                <a:lnTo>
                  <a:pt x="0" y="21599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317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76B36CAE-1B80-45AC-9E44-524014EE1CC6}"/>
              </a:ext>
            </a:extLst>
          </p:cNvPr>
          <p:cNvSpPr/>
          <p:nvPr userDrawn="1"/>
        </p:nvSpPr>
        <p:spPr>
          <a:xfrm>
            <a:off x="0" y="1412808"/>
            <a:ext cx="1126829" cy="215992"/>
          </a:xfrm>
          <a:custGeom>
            <a:avLst/>
            <a:gdLst>
              <a:gd name="connsiteX0" fmla="*/ 0 w 1126829"/>
              <a:gd name="connsiteY0" fmla="*/ 0 h 215992"/>
              <a:gd name="connsiteX1" fmla="*/ 1018833 w 1126829"/>
              <a:gd name="connsiteY1" fmla="*/ 0 h 215992"/>
              <a:gd name="connsiteX2" fmla="*/ 1126829 w 1126829"/>
              <a:gd name="connsiteY2" fmla="*/ 107996 h 215992"/>
              <a:gd name="connsiteX3" fmla="*/ 1018833 w 1126829"/>
              <a:gd name="connsiteY3" fmla="*/ 215992 h 215992"/>
              <a:gd name="connsiteX4" fmla="*/ 0 w 1126829"/>
              <a:gd name="connsiteY4" fmla="*/ 215992 h 21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6829" h="215992">
                <a:moveTo>
                  <a:pt x="0" y="0"/>
                </a:moveTo>
                <a:lnTo>
                  <a:pt x="1018833" y="0"/>
                </a:lnTo>
                <a:cubicBezTo>
                  <a:pt x="1078478" y="0"/>
                  <a:pt x="1126829" y="48351"/>
                  <a:pt x="1126829" y="107996"/>
                </a:cubicBezTo>
                <a:cubicBezTo>
                  <a:pt x="1126829" y="167641"/>
                  <a:pt x="1078478" y="215992"/>
                  <a:pt x="1018833" y="215992"/>
                </a:cubicBezTo>
                <a:lnTo>
                  <a:pt x="0" y="21599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317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B40EF20-84AE-8384-804A-D6AC57635F88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25125" y="379819"/>
            <a:ext cx="1258888" cy="22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02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5" r:id="rId18"/>
    <p:sldLayoutId id="2147483731" r:id="rId19"/>
    <p:sldLayoutId id="2147483732" r:id="rId20"/>
    <p:sldLayoutId id="2147483733" r:id="rId21"/>
    <p:sldLayoutId id="214748373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32">
          <p15:clr>
            <a:srgbClr val="F26B43"/>
          </p15:clr>
        </p15:guide>
        <p15:guide id="15" pos="6630" userDrawn="1">
          <p15:clr>
            <a:srgbClr val="F26B43"/>
          </p15:clr>
        </p15:guide>
        <p15:guide id="16" orient="horz" pos="4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www.figma.com/file/WXVuYoX9RWAAgMNF19pDha/EnBW-%7C-Design-Guide?node-id=155%3A15432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1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0212150-E003-4316-ABB6-AE5BD41484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/>
          <a:lstStyle/>
          <a:p>
            <a:r>
              <a:rPr lang="de-DE" dirty="0"/>
              <a:t>„</a:t>
            </a:r>
            <a:r>
              <a:rPr lang="de-DE" dirty="0" err="1"/>
              <a:t>How-to-use</a:t>
            </a:r>
            <a:r>
              <a:rPr lang="de-DE" dirty="0"/>
              <a:t>“ Guideline für</a:t>
            </a:r>
            <a:br>
              <a:rPr lang="de-DE" dirty="0"/>
            </a:br>
            <a:r>
              <a:rPr lang="de-DE" dirty="0"/>
              <a:t>PowerPoin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EnBW | Januar 2023</a:t>
            </a:r>
          </a:p>
        </p:txBody>
      </p:sp>
    </p:spTree>
    <p:extLst>
      <p:ext uri="{BB962C8B-B14F-4D97-AF65-F5344CB8AC3E}">
        <p14:creationId xmlns:p14="http://schemas.microsoft.com/office/powerpoint/2010/main" val="371873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DA0156-A1B0-DFA7-3E13-9A270DBC7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igma</a:t>
            </a:r>
            <a:r>
              <a:rPr lang="de-DE" dirty="0"/>
              <a:t> – Design Guid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4F729A5-95CA-7E36-BFC1-305700DF8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3B9301-5FB4-8BA7-5A9B-6E0006155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DF001E6-1936-ABDD-2B92-67DA5A8C9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881188"/>
            <a:ext cx="5400000" cy="2902500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F2DC91E-7143-5357-2E12-EBCF617693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5820" y="3371300"/>
            <a:ext cx="5400000" cy="2902500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Inhaltsplatzhalter 19">
            <a:extLst>
              <a:ext uri="{FF2B5EF4-FFF2-40B4-BE49-F238E27FC236}">
                <a16:creationId xmlns:a16="http://schemas.microsoft.com/office/drawing/2014/main" id="{6D76520E-2FD6-778D-B53F-165F8CAF0516}"/>
              </a:ext>
            </a:extLst>
          </p:cNvPr>
          <p:cNvSpPr txBox="1">
            <a:spLocks/>
          </p:cNvSpPr>
          <p:nvPr/>
        </p:nvSpPr>
        <p:spPr>
          <a:xfrm>
            <a:off x="6094423" y="1844674"/>
            <a:ext cx="5689590" cy="442912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de-DE" dirty="0"/>
              <a:t>Solltest du einmal Fragen zur Bildsprache, Farben oder anderen Designelementen haben, im </a:t>
            </a:r>
            <a:r>
              <a:rPr lang="de-DE" dirty="0" err="1"/>
              <a:t>Figma</a:t>
            </a:r>
            <a:r>
              <a:rPr lang="de-DE" dirty="0"/>
              <a:t> findest du fast alle Antworten. Hier kannst du dir auch das Logo, die aktuelle Icon-Liste und Illustrationen herunterladen.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22CF9E5-C476-7127-5A6D-90EF69ECE9A3}"/>
              </a:ext>
            </a:extLst>
          </p:cNvPr>
          <p:cNvGrpSpPr/>
          <p:nvPr/>
        </p:nvGrpSpPr>
        <p:grpSpPr>
          <a:xfrm>
            <a:off x="10128448" y="3104964"/>
            <a:ext cx="1821639" cy="1620180"/>
            <a:chOff x="10128448" y="3104964"/>
            <a:chExt cx="1821639" cy="1620180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73268927-C483-6029-9E3D-4F8DE174E440}"/>
                </a:ext>
              </a:extLst>
            </p:cNvPr>
            <p:cNvGrpSpPr/>
            <p:nvPr/>
          </p:nvGrpSpPr>
          <p:grpSpPr>
            <a:xfrm>
              <a:off x="10164452" y="3104964"/>
              <a:ext cx="1785635" cy="1586665"/>
              <a:chOff x="8009280" y="152636"/>
              <a:chExt cx="1785635" cy="1586665"/>
            </a:xfrm>
          </p:grpSpPr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96EDCEEB-9EA3-10C6-BAD9-334530DF3CFC}"/>
                  </a:ext>
                </a:extLst>
              </p:cNvPr>
              <p:cNvGrpSpPr/>
              <p:nvPr/>
            </p:nvGrpSpPr>
            <p:grpSpPr>
              <a:xfrm>
                <a:off x="8009280" y="152636"/>
                <a:ext cx="1785635" cy="1586665"/>
                <a:chOff x="8009280" y="267816"/>
                <a:chExt cx="1785635" cy="1586665"/>
              </a:xfrm>
            </p:grpSpPr>
            <p:sp>
              <p:nvSpPr>
                <p:cNvPr id="13" name="Ellipse 12">
                  <a:extLst>
                    <a:ext uri="{FF2B5EF4-FFF2-40B4-BE49-F238E27FC236}">
                      <a16:creationId xmlns:a16="http://schemas.microsoft.com/office/drawing/2014/main" id="{17A7A2CF-D93D-F02A-6088-8274B8A45216}"/>
                    </a:ext>
                  </a:extLst>
                </p:cNvPr>
                <p:cNvSpPr/>
                <p:nvPr/>
              </p:nvSpPr>
              <p:spPr bwMode="gray">
                <a:xfrm rot="600000">
                  <a:off x="9068655" y="267816"/>
                  <a:ext cx="726260" cy="726260"/>
                </a:xfrm>
                <a:prstGeom prst="ellipse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endParaRPr>
                </a:p>
              </p:txBody>
            </p:sp>
            <p:sp>
              <p:nvSpPr>
                <p:cNvPr id="14" name="Ellipse 13">
                  <a:extLst>
                    <a:ext uri="{FF2B5EF4-FFF2-40B4-BE49-F238E27FC236}">
                      <a16:creationId xmlns:a16="http://schemas.microsoft.com/office/drawing/2014/main" id="{63160D6E-35CD-B02B-11F2-FD6C96E02D01}"/>
                    </a:ext>
                  </a:extLst>
                </p:cNvPr>
                <p:cNvSpPr/>
                <p:nvPr/>
              </p:nvSpPr>
              <p:spPr bwMode="gray">
                <a:xfrm rot="600000">
                  <a:off x="8009280" y="392435"/>
                  <a:ext cx="1462046" cy="1462046"/>
                </a:xfrm>
                <a:prstGeom prst="ellipse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r>
                    <a:rPr lang="de-DE" sz="1200" b="1" dirty="0">
                      <a:solidFill>
                        <a:schemeClr val="bg1"/>
                      </a:solidFill>
                      <a:latin typeface="EnBW DIN Pro Medium" panose="020B0604020101020102" pitchFamily="34" charset="0"/>
                      <a:cs typeface="EnBW DIN Pro Medium" panose="020B0604020101020102" pitchFamily="34" charset="0"/>
                    </a:rPr>
                    <a:t>Link zum</a:t>
                  </a:r>
                  <a:br>
                    <a:rPr lang="de-DE" sz="1200" b="1" dirty="0">
                      <a:solidFill>
                        <a:schemeClr val="bg1"/>
                      </a:solidFill>
                      <a:latin typeface="EnBW DIN Pro Medium" panose="020B0604020101020102" pitchFamily="34" charset="0"/>
                      <a:cs typeface="EnBW DIN Pro Medium" panose="020B0604020101020102" pitchFamily="34" charset="0"/>
                    </a:rPr>
                  </a:br>
                  <a:r>
                    <a:rPr lang="de-DE" sz="2800" b="1" dirty="0" err="1">
                      <a:solidFill>
                        <a:schemeClr val="bg1"/>
                      </a:solidFill>
                      <a:latin typeface="EnBW DIN Pro Medium" panose="020B0604020101020102" pitchFamily="34" charset="0"/>
                      <a:cs typeface="EnBW DIN Pro Medium" panose="020B0604020101020102" pitchFamily="34" charset="0"/>
                    </a:rPr>
                    <a:t>Figma</a:t>
                  </a:r>
                  <a:br>
                    <a:rPr lang="de-DE" sz="2800" b="1" dirty="0">
                      <a:solidFill>
                        <a:schemeClr val="bg1"/>
                      </a:solidFill>
                      <a:latin typeface="EnBW DIN Pro Medium" panose="020B0604020101020102" pitchFamily="34" charset="0"/>
                      <a:cs typeface="EnBW DIN Pro Medium" panose="020B0604020101020102" pitchFamily="34" charset="0"/>
                    </a:rPr>
                  </a:br>
                  <a:r>
                    <a:rPr lang="de-DE" sz="1000" dirty="0">
                      <a:solidFill>
                        <a:schemeClr val="bg1"/>
                      </a:solidFill>
                      <a:cs typeface="EnBW DIN Pro Medium" panose="020B0604020101020102" pitchFamily="34" charset="0"/>
                    </a:rPr>
                    <a:t>klicke hier!</a:t>
                  </a:r>
                </a:p>
              </p:txBody>
            </p:sp>
          </p:grpSp>
          <p:sp>
            <p:nvSpPr>
              <p:cNvPr id="12" name="Grafik 8">
                <a:extLst>
                  <a:ext uri="{FF2B5EF4-FFF2-40B4-BE49-F238E27FC236}">
                    <a16:creationId xmlns:a16="http://schemas.microsoft.com/office/drawing/2014/main" id="{A8EBC604-638C-9F8C-01BC-034012F475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161791" y="245766"/>
                <a:ext cx="539988" cy="540000"/>
              </a:xfrm>
              <a:custGeom>
                <a:avLst/>
                <a:gdLst>
                  <a:gd name="connsiteX0" fmla="*/ 2159889 w 4319873"/>
                  <a:gd name="connsiteY0" fmla="*/ 0 h 4319968"/>
                  <a:gd name="connsiteX1" fmla="*/ 0 w 4319873"/>
                  <a:gd name="connsiteY1" fmla="*/ 2159984 h 4319968"/>
                  <a:gd name="connsiteX2" fmla="*/ 144018 w 4319873"/>
                  <a:gd name="connsiteY2" fmla="*/ 2951988 h 4319968"/>
                  <a:gd name="connsiteX3" fmla="*/ 331184 w 4319873"/>
                  <a:gd name="connsiteY3" fmla="*/ 3038380 h 4319968"/>
                  <a:gd name="connsiteX4" fmla="*/ 417576 w 4319873"/>
                  <a:gd name="connsiteY4" fmla="*/ 2851214 h 4319968"/>
                  <a:gd name="connsiteX5" fmla="*/ 287941 w 4319873"/>
                  <a:gd name="connsiteY5" fmla="*/ 2159984 h 4319968"/>
                  <a:gd name="connsiteX6" fmla="*/ 2159794 w 4319873"/>
                  <a:gd name="connsiteY6" fmla="*/ 288036 h 4319968"/>
                  <a:gd name="connsiteX7" fmla="*/ 4031647 w 4319873"/>
                  <a:gd name="connsiteY7" fmla="*/ 2159984 h 4319968"/>
                  <a:gd name="connsiteX8" fmla="*/ 2159889 w 4319873"/>
                  <a:gd name="connsiteY8" fmla="*/ 4031933 h 4319968"/>
                  <a:gd name="connsiteX9" fmla="*/ 806387 w 4319873"/>
                  <a:gd name="connsiteY9" fmla="*/ 3455956 h 4319968"/>
                  <a:gd name="connsiteX10" fmla="*/ 604838 w 4319873"/>
                  <a:gd name="connsiteY10" fmla="*/ 3455956 h 4319968"/>
                  <a:gd name="connsiteX11" fmla="*/ 604838 w 4319873"/>
                  <a:gd name="connsiteY11" fmla="*/ 3657600 h 4319968"/>
                  <a:gd name="connsiteX12" fmla="*/ 2159984 w 4319873"/>
                  <a:gd name="connsiteY12" fmla="*/ 4319969 h 4319968"/>
                  <a:gd name="connsiteX13" fmla="*/ 4319873 w 4319873"/>
                  <a:gd name="connsiteY13" fmla="*/ 2159984 h 4319968"/>
                  <a:gd name="connsiteX14" fmla="*/ 2159889 w 4319873"/>
                  <a:gd name="connsiteY14" fmla="*/ 0 h 4319968"/>
                  <a:gd name="connsiteX15" fmla="*/ 2158365 w 4319873"/>
                  <a:gd name="connsiteY15" fmla="*/ 2688622 h 4319968"/>
                  <a:gd name="connsiteX16" fmla="*/ 2348865 w 4319873"/>
                  <a:gd name="connsiteY16" fmla="*/ 2498122 h 4319968"/>
                  <a:gd name="connsiteX17" fmla="*/ 2348865 w 4319873"/>
                  <a:gd name="connsiteY17" fmla="*/ 1163288 h 4319968"/>
                  <a:gd name="connsiteX18" fmla="*/ 2158365 w 4319873"/>
                  <a:gd name="connsiteY18" fmla="*/ 972788 h 4319968"/>
                  <a:gd name="connsiteX19" fmla="*/ 1967865 w 4319873"/>
                  <a:gd name="connsiteY19" fmla="*/ 1163288 h 4319968"/>
                  <a:gd name="connsiteX20" fmla="*/ 1967865 w 4319873"/>
                  <a:gd name="connsiteY20" fmla="*/ 2498122 h 4319968"/>
                  <a:gd name="connsiteX21" fmla="*/ 2158365 w 4319873"/>
                  <a:gd name="connsiteY21" fmla="*/ 2688622 h 4319968"/>
                  <a:gd name="connsiteX22" fmla="*/ 2159127 w 4319873"/>
                  <a:gd name="connsiteY22" fmla="*/ 3431572 h 4319968"/>
                  <a:gd name="connsiteX23" fmla="*/ 2378202 w 4319873"/>
                  <a:gd name="connsiteY23" fmla="*/ 3212497 h 4319968"/>
                  <a:gd name="connsiteX24" fmla="*/ 2159127 w 4319873"/>
                  <a:gd name="connsiteY24" fmla="*/ 2993422 h 4319968"/>
                  <a:gd name="connsiteX25" fmla="*/ 1940052 w 4319873"/>
                  <a:gd name="connsiteY25" fmla="*/ 3212497 h 4319968"/>
                  <a:gd name="connsiteX26" fmla="*/ 2159127 w 4319873"/>
                  <a:gd name="connsiteY26" fmla="*/ 3431572 h 4319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319873" h="4319968">
                    <a:moveTo>
                      <a:pt x="2159889" y="0"/>
                    </a:moveTo>
                    <a:cubicBezTo>
                      <a:pt x="964787" y="0"/>
                      <a:pt x="0" y="964787"/>
                      <a:pt x="0" y="2159984"/>
                    </a:cubicBezTo>
                    <a:cubicBezTo>
                      <a:pt x="0" y="2433542"/>
                      <a:pt x="57626" y="2707196"/>
                      <a:pt x="144018" y="2951988"/>
                    </a:cubicBezTo>
                    <a:cubicBezTo>
                      <a:pt x="172784" y="3038380"/>
                      <a:pt x="259175" y="3067145"/>
                      <a:pt x="331184" y="3038380"/>
                    </a:cubicBezTo>
                    <a:cubicBezTo>
                      <a:pt x="417576" y="3009614"/>
                      <a:pt x="446342" y="2923223"/>
                      <a:pt x="417576" y="2851214"/>
                    </a:cubicBezTo>
                    <a:cubicBezTo>
                      <a:pt x="331184" y="2635187"/>
                      <a:pt x="287941" y="2404777"/>
                      <a:pt x="287941" y="2159984"/>
                    </a:cubicBezTo>
                    <a:cubicBezTo>
                      <a:pt x="287941" y="1123188"/>
                      <a:pt x="1123093" y="288036"/>
                      <a:pt x="2159794" y="288036"/>
                    </a:cubicBezTo>
                    <a:cubicBezTo>
                      <a:pt x="3196495" y="288036"/>
                      <a:pt x="4031647" y="1123188"/>
                      <a:pt x="4031647" y="2159984"/>
                    </a:cubicBezTo>
                    <a:cubicBezTo>
                      <a:pt x="4031647" y="3196781"/>
                      <a:pt x="3196590" y="4031933"/>
                      <a:pt x="2159889" y="4031933"/>
                    </a:cubicBezTo>
                    <a:cubicBezTo>
                      <a:pt x="1655921" y="4031933"/>
                      <a:pt x="1151954" y="3815906"/>
                      <a:pt x="806387" y="3455956"/>
                    </a:cubicBezTo>
                    <a:cubicBezTo>
                      <a:pt x="748760" y="3398330"/>
                      <a:pt x="662369" y="3398330"/>
                      <a:pt x="604838" y="3455956"/>
                    </a:cubicBezTo>
                    <a:cubicBezTo>
                      <a:pt x="547211" y="3513582"/>
                      <a:pt x="547211" y="3599974"/>
                      <a:pt x="604838" y="3657600"/>
                    </a:cubicBezTo>
                    <a:cubicBezTo>
                      <a:pt x="1008031" y="4075176"/>
                      <a:pt x="1569625" y="4319969"/>
                      <a:pt x="2159984" y="4319969"/>
                    </a:cubicBezTo>
                    <a:cubicBezTo>
                      <a:pt x="3355086" y="4319969"/>
                      <a:pt x="4319873" y="3355181"/>
                      <a:pt x="4319873" y="2159984"/>
                    </a:cubicBezTo>
                    <a:cubicBezTo>
                      <a:pt x="4319873" y="964787"/>
                      <a:pt x="3354991" y="0"/>
                      <a:pt x="2159889" y="0"/>
                    </a:cubicBezTo>
                    <a:close/>
                    <a:moveTo>
                      <a:pt x="2158365" y="2688622"/>
                    </a:moveTo>
                    <a:cubicBezTo>
                      <a:pt x="2263616" y="2688622"/>
                      <a:pt x="2348865" y="2603373"/>
                      <a:pt x="2348865" y="2498122"/>
                    </a:cubicBezTo>
                    <a:lnTo>
                      <a:pt x="2348865" y="1163288"/>
                    </a:lnTo>
                    <a:cubicBezTo>
                      <a:pt x="2348865" y="1058037"/>
                      <a:pt x="2263616" y="972788"/>
                      <a:pt x="2158365" y="972788"/>
                    </a:cubicBezTo>
                    <a:cubicBezTo>
                      <a:pt x="2053114" y="972788"/>
                      <a:pt x="1967865" y="1058037"/>
                      <a:pt x="1967865" y="1163288"/>
                    </a:cubicBezTo>
                    <a:lnTo>
                      <a:pt x="1967865" y="2498122"/>
                    </a:lnTo>
                    <a:cubicBezTo>
                      <a:pt x="1967865" y="2603278"/>
                      <a:pt x="2053114" y="2688622"/>
                      <a:pt x="2158365" y="2688622"/>
                    </a:cubicBezTo>
                    <a:close/>
                    <a:moveTo>
                      <a:pt x="2159127" y="3431572"/>
                    </a:moveTo>
                    <a:cubicBezTo>
                      <a:pt x="2279904" y="3431572"/>
                      <a:pt x="2378202" y="3333274"/>
                      <a:pt x="2378202" y="3212497"/>
                    </a:cubicBezTo>
                    <a:cubicBezTo>
                      <a:pt x="2378202" y="3091720"/>
                      <a:pt x="2279904" y="2993422"/>
                      <a:pt x="2159127" y="2993422"/>
                    </a:cubicBezTo>
                    <a:cubicBezTo>
                      <a:pt x="2038350" y="2993422"/>
                      <a:pt x="1940052" y="3091720"/>
                      <a:pt x="1940052" y="3212497"/>
                    </a:cubicBezTo>
                    <a:cubicBezTo>
                      <a:pt x="1940052" y="3333274"/>
                      <a:pt x="2038255" y="3431572"/>
                      <a:pt x="2159127" y="343157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15" name="Ellipse 14">
              <a:hlinkClick r:id="rId4"/>
              <a:extLst>
                <a:ext uri="{FF2B5EF4-FFF2-40B4-BE49-F238E27FC236}">
                  <a16:creationId xmlns:a16="http://schemas.microsoft.com/office/drawing/2014/main" id="{EFB5BF86-D6E8-6D93-5437-18E52B31C4EC}"/>
                </a:ext>
              </a:extLst>
            </p:cNvPr>
            <p:cNvSpPr/>
            <p:nvPr/>
          </p:nvSpPr>
          <p:spPr>
            <a:xfrm>
              <a:off x="10128448" y="3212976"/>
              <a:ext cx="1512168" cy="1512168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716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10280374-05DA-497E-572B-8D54D3126E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999" y="2641804"/>
            <a:ext cx="5688013" cy="3631996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m Schluss</a:t>
            </a:r>
          </a:p>
        </p:txBody>
      </p:sp>
      <p:sp>
        <p:nvSpPr>
          <p:cNvPr id="20" name="Inhaltsplatzhalter 19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2"/>
            <a:r>
              <a:rPr lang="de-DE" dirty="0"/>
              <a:t>Wird immer als Abschluss</a:t>
            </a:r>
            <a:br>
              <a:rPr lang="de-DE" dirty="0"/>
            </a:br>
            <a:r>
              <a:rPr lang="de-DE" dirty="0"/>
              <a:t>einer Präsentation eingestellt.</a:t>
            </a:r>
          </a:p>
          <a:p>
            <a:pPr lvl="2"/>
            <a:r>
              <a:rPr lang="de-DE" dirty="0"/>
              <a:t>„Datum und Uhrzeit“ ist deaktiviert.</a:t>
            </a:r>
          </a:p>
          <a:p>
            <a:pPr lvl="2"/>
            <a:r>
              <a:rPr lang="de-DE" dirty="0"/>
              <a:t>Das Datum (oder Monat mit Jahreszahl)</a:t>
            </a:r>
            <a:br>
              <a:rPr lang="de-DE" dirty="0"/>
            </a:br>
            <a:r>
              <a:rPr lang="de-DE" dirty="0"/>
              <a:t>steht im Fußzeilenplatzhalter.</a:t>
            </a:r>
          </a:p>
        </p:txBody>
      </p:sp>
      <p:sp>
        <p:nvSpPr>
          <p:cNvPr id="27" name="Inhaltsplatzhalter 26">
            <a:extLst>
              <a:ext uri="{FF2B5EF4-FFF2-40B4-BE49-F238E27FC236}">
                <a16:creationId xmlns:a16="http://schemas.microsoft.com/office/drawing/2014/main" id="{CD1CD9E4-32B9-82DE-F592-5456EE9B6C5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F06F23A3-3F4E-4FE9-BA76-53A569DAB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37" name="Foliennummernplatzhalter 3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468836-6505-459F-A841-BF2819D76564}" type="slidenum">
              <a:rPr lang="de-DE" smtClean="0"/>
              <a:pPr/>
              <a:t>11</a:t>
            </a:fld>
            <a:endParaRPr lang="de-DE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7" imgH="379" progId="TCLayout.ActiveDocument.1">
                  <p:embed/>
                </p:oleObj>
              </mc:Choice>
              <mc:Fallback>
                <p:oleObj name="think-cell Folie" r:id="rId5" imgW="377" imgH="379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de-DE" sz="2722" b="1" dirty="0" err="1">
              <a:solidFill>
                <a:schemeClr val="tx1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512000" y="2637000"/>
            <a:ext cx="1451951" cy="792000"/>
          </a:xfrm>
          <a:prstGeom prst="rect">
            <a:avLst/>
          </a:prstGeom>
          <a:solidFill>
            <a:srgbClr val="00B0F0"/>
          </a:solidFill>
        </p:spPr>
        <p:txBody>
          <a:bodyPr vert="horz" lIns="65317" tIns="32659" rIns="65317" bIns="32659" rtlCol="0">
            <a:noAutofit/>
          </a:bodyPr>
          <a:lstStyle/>
          <a:p>
            <a:pPr defTabSz="829520">
              <a:spcAft>
                <a:spcPts val="600"/>
              </a:spcAft>
              <a:buClr>
                <a:schemeClr val="bg2"/>
              </a:buClr>
            </a:pPr>
            <a:r>
              <a:rPr lang="de-DE" sz="1000" b="1" dirty="0">
                <a:solidFill>
                  <a:schemeClr val="bg1"/>
                </a:solidFill>
              </a:rPr>
              <a:t>Registerkarte:</a:t>
            </a:r>
            <a:br>
              <a:rPr lang="de-DE" sz="1000" dirty="0">
                <a:solidFill>
                  <a:schemeClr val="bg1"/>
                </a:solidFill>
              </a:rPr>
            </a:br>
            <a:r>
              <a:rPr lang="de-DE" sz="1000" dirty="0">
                <a:solidFill>
                  <a:schemeClr val="bg1"/>
                </a:solidFill>
              </a:rPr>
              <a:t>Einfügen</a:t>
            </a:r>
          </a:p>
          <a:p>
            <a:pPr defTabSz="829520">
              <a:spcAft>
                <a:spcPts val="600"/>
              </a:spcAft>
              <a:buClr>
                <a:schemeClr val="bg2"/>
              </a:buClr>
            </a:pPr>
            <a:r>
              <a:rPr lang="de-DE" sz="1000" b="1" dirty="0">
                <a:solidFill>
                  <a:schemeClr val="bg1"/>
                </a:solidFill>
              </a:rPr>
              <a:t>Bereich</a:t>
            </a:r>
            <a:r>
              <a:rPr lang="de-DE" sz="1000" dirty="0">
                <a:solidFill>
                  <a:schemeClr val="bg1"/>
                </a:solidFill>
              </a:rPr>
              <a:t>: Text |</a:t>
            </a:r>
            <a:br>
              <a:rPr lang="de-DE" sz="1000" dirty="0">
                <a:solidFill>
                  <a:schemeClr val="bg1"/>
                </a:solidFill>
              </a:rPr>
            </a:br>
            <a:r>
              <a:rPr lang="de-DE" sz="1000" dirty="0">
                <a:solidFill>
                  <a:schemeClr val="bg1"/>
                </a:solidFill>
              </a:rPr>
              <a:t>Kopf- und Fußzeil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E7404D0-949D-46E3-927A-1767FEF2FC30}"/>
              </a:ext>
            </a:extLst>
          </p:cNvPr>
          <p:cNvSpPr/>
          <p:nvPr/>
        </p:nvSpPr>
        <p:spPr>
          <a:xfrm>
            <a:off x="6780076" y="3395377"/>
            <a:ext cx="2015740" cy="12601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fld id="{11B0901F-8E87-4DBC-ADDF-2A7E7136441B}" type="datetime1">
              <a:rPr lang="de-DE"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03.01.2023</a:t>
            </a:fld>
            <a:endParaRPr lang="de-DE" sz="8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44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29">
            <a:extLst>
              <a:ext uri="{FF2B5EF4-FFF2-40B4-BE49-F238E27FC236}">
                <a16:creationId xmlns:a16="http://schemas.microsoft.com/office/drawing/2014/main" id="{FFAC2F23-7D19-4BD6-8CA4-31E9D17DC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rben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017665D-5ACC-4C76-BF7E-FE4D96A91BD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Die neue Farbleiste</a:t>
            </a:r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3EE73CEA-7B1F-467E-A6A7-368A6234E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29" name="Foliennummernplatzhalter 28">
            <a:extLst>
              <a:ext uri="{FF2B5EF4-FFF2-40B4-BE49-F238E27FC236}">
                <a16:creationId xmlns:a16="http://schemas.microsoft.com/office/drawing/2014/main" id="{D4AC1095-2B8B-438E-B52F-41F7DB078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FCF6D-0389-4320-9D89-9A0C90B37087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9" name="Rectangle 65">
            <a:extLst>
              <a:ext uri="{FF2B5EF4-FFF2-40B4-BE49-F238E27FC236}">
                <a16:creationId xmlns:a16="http://schemas.microsoft.com/office/drawing/2014/main" id="{B5D0BA14-C99D-40D0-AE2C-68DB8F7B74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7988" y="5050236"/>
            <a:ext cx="11376025" cy="12235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t" anchorCtr="0"/>
          <a:lstStyle/>
          <a:p>
            <a:r>
              <a:rPr lang="de-DE" sz="1200" dirty="0"/>
              <a:t>Abgestufte Töne werden</a:t>
            </a:r>
            <a:br>
              <a:rPr lang="de-DE" sz="1200" dirty="0"/>
            </a:br>
            <a:r>
              <a:rPr lang="de-DE" sz="1200" dirty="0"/>
              <a:t>automatisch in PowerPoint</a:t>
            </a:r>
            <a:br>
              <a:rPr lang="de-DE" sz="1200" dirty="0"/>
            </a:br>
            <a:r>
              <a:rPr lang="de-DE" sz="1200" dirty="0"/>
              <a:t>erzeugt. Bitte nicht nutzen.</a:t>
            </a:r>
          </a:p>
        </p:txBody>
      </p:sp>
      <p:sp>
        <p:nvSpPr>
          <p:cNvPr id="50" name="Rectangle 65">
            <a:extLst>
              <a:ext uri="{FF2B5EF4-FFF2-40B4-BE49-F238E27FC236}">
                <a16:creationId xmlns:a16="http://schemas.microsoft.com/office/drawing/2014/main" id="{380876E6-CBC0-41EF-9F41-31A8028678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7988" y="4117882"/>
            <a:ext cx="11376026" cy="83911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r>
              <a:rPr lang="de-DE" sz="1200" dirty="0"/>
              <a:t>Corporate Designfarben</a:t>
            </a:r>
          </a:p>
        </p:txBody>
      </p:sp>
      <p:sp>
        <p:nvSpPr>
          <p:cNvPr id="51" name="Rectangle 5">
            <a:extLst>
              <a:ext uri="{FF2B5EF4-FFF2-40B4-BE49-F238E27FC236}">
                <a16:creationId xmlns:a16="http://schemas.microsoft.com/office/drawing/2014/main" id="{467DBAF2-02A9-4BE5-883D-CE4E5DDA975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107653" y="4211117"/>
            <a:ext cx="702462" cy="65264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/>
              <a:t>R</a:t>
            </a:r>
          </a:p>
          <a:p>
            <a:pPr algn="r"/>
            <a:r>
              <a:rPr lang="de-DE" sz="1200" dirty="0"/>
              <a:t>G</a:t>
            </a:r>
          </a:p>
          <a:p>
            <a:pPr algn="r"/>
            <a:r>
              <a:rPr lang="de-DE" sz="1200" dirty="0"/>
              <a:t>B</a:t>
            </a:r>
          </a:p>
        </p:txBody>
      </p:sp>
      <p:sp>
        <p:nvSpPr>
          <p:cNvPr id="102" name="Rectangle 70">
            <a:extLst>
              <a:ext uri="{FF2B5EF4-FFF2-40B4-BE49-F238E27FC236}">
                <a16:creationId xmlns:a16="http://schemas.microsoft.com/office/drawing/2014/main" id="{FAAFF93F-DB46-4EF2-A17D-9F982EEEAC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33859" y="4211117"/>
            <a:ext cx="745587" cy="65264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/>
              <a:t>228</a:t>
            </a:r>
            <a:br>
              <a:rPr lang="de-DE" sz="1200" dirty="0"/>
            </a:br>
            <a:r>
              <a:rPr lang="de-DE" sz="1200" dirty="0"/>
              <a:t>218</a:t>
            </a:r>
            <a:br>
              <a:rPr lang="de-DE" sz="1200" dirty="0"/>
            </a:br>
            <a:r>
              <a:rPr lang="de-DE" sz="1200" dirty="0"/>
              <a:t>212</a:t>
            </a:r>
          </a:p>
        </p:txBody>
      </p:sp>
      <p:sp>
        <p:nvSpPr>
          <p:cNvPr id="103" name="Rectangle 71">
            <a:extLst>
              <a:ext uri="{FF2B5EF4-FFF2-40B4-BE49-F238E27FC236}">
                <a16:creationId xmlns:a16="http://schemas.microsoft.com/office/drawing/2014/main" id="{3827DC3C-BB5F-4106-9243-4B2B470D5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71612" y="4211117"/>
            <a:ext cx="745587" cy="652646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132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192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065 </a:t>
            </a:r>
          </a:p>
        </p:txBody>
      </p:sp>
      <p:sp>
        <p:nvSpPr>
          <p:cNvPr id="104" name="Rectangle 72">
            <a:extLst>
              <a:ext uri="{FF2B5EF4-FFF2-40B4-BE49-F238E27FC236}">
                <a16:creationId xmlns:a16="http://schemas.microsoft.com/office/drawing/2014/main" id="{54F8193C-9F6B-4D30-BF0C-C900F69839D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17274" y="4211117"/>
            <a:ext cx="747625" cy="652646"/>
          </a:xfrm>
          <a:prstGeom prst="rect">
            <a:avLst/>
          </a:prstGeom>
          <a:solidFill>
            <a:srgbClr val="5BE3D6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091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227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214</a:t>
            </a:r>
          </a:p>
        </p:txBody>
      </p:sp>
      <p:sp>
        <p:nvSpPr>
          <p:cNvPr id="105" name="Rectangle 73">
            <a:extLst>
              <a:ext uri="{FF2B5EF4-FFF2-40B4-BE49-F238E27FC236}">
                <a16:creationId xmlns:a16="http://schemas.microsoft.com/office/drawing/2014/main" id="{6E896E51-61E7-4870-96FB-34EEA44B6A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9466938" y="4211117"/>
            <a:ext cx="745587" cy="65264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017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149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235</a:t>
            </a:r>
          </a:p>
        </p:txBody>
      </p:sp>
      <p:sp>
        <p:nvSpPr>
          <p:cNvPr id="106" name="Rectangle 74">
            <a:extLst>
              <a:ext uri="{FF2B5EF4-FFF2-40B4-BE49-F238E27FC236}">
                <a16:creationId xmlns:a16="http://schemas.microsoft.com/office/drawing/2014/main" id="{41F04143-0B4C-4F89-8CFF-66C0207151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14638" y="4211117"/>
            <a:ext cx="745587" cy="652646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253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200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058</a:t>
            </a:r>
          </a:p>
        </p:txBody>
      </p:sp>
      <p:sp>
        <p:nvSpPr>
          <p:cNvPr id="107" name="Rectangle 75">
            <a:extLst>
              <a:ext uri="{FF2B5EF4-FFF2-40B4-BE49-F238E27FC236}">
                <a16:creationId xmlns:a16="http://schemas.microsoft.com/office/drawing/2014/main" id="{E223DC79-14C3-4DC5-AA2F-F48A99ACFA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962338" y="4211117"/>
            <a:ext cx="745587" cy="65264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/>
              <a:t>226</a:t>
            </a:r>
            <a:br>
              <a:rPr lang="de-DE" sz="1200" dirty="0"/>
            </a:br>
            <a:r>
              <a:rPr lang="de-DE" sz="1200" dirty="0"/>
              <a:t>195</a:t>
            </a:r>
            <a:br>
              <a:rPr lang="de-DE" sz="1200" dirty="0"/>
            </a:br>
            <a:r>
              <a:rPr lang="de-DE" sz="1200" dirty="0"/>
              <a:t>154</a:t>
            </a:r>
          </a:p>
        </p:txBody>
      </p:sp>
      <p:sp>
        <p:nvSpPr>
          <p:cNvPr id="108" name="Rectangle 67">
            <a:extLst>
              <a:ext uri="{FF2B5EF4-FFF2-40B4-BE49-F238E27FC236}">
                <a16:creationId xmlns:a16="http://schemas.microsoft.com/office/drawing/2014/main" id="{A28E40E5-32D8-4D6D-8A4D-8E57CB9927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0148" y="4211117"/>
            <a:ext cx="745587" cy="652646"/>
          </a:xfrm>
          <a:prstGeom prst="rect">
            <a:avLst/>
          </a:prstGeom>
          <a:solidFill>
            <a:schemeClr val="tx1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000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000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000</a:t>
            </a:r>
          </a:p>
        </p:txBody>
      </p:sp>
      <p:sp>
        <p:nvSpPr>
          <p:cNvPr id="109" name="Rectangle 68">
            <a:extLst>
              <a:ext uri="{FF2B5EF4-FFF2-40B4-BE49-F238E27FC236}">
                <a16:creationId xmlns:a16="http://schemas.microsoft.com/office/drawing/2014/main" id="{8BAB8834-7116-4B4A-90F2-0DCB36C9F4B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2475" y="4211117"/>
            <a:ext cx="745587" cy="652646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254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143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017</a:t>
            </a:r>
          </a:p>
        </p:txBody>
      </p:sp>
      <p:sp>
        <p:nvSpPr>
          <p:cNvPr id="110" name="Rectangle 69">
            <a:extLst>
              <a:ext uri="{FF2B5EF4-FFF2-40B4-BE49-F238E27FC236}">
                <a16:creationId xmlns:a16="http://schemas.microsoft.com/office/drawing/2014/main" id="{702EC3B5-3CEA-419E-A652-EF15CA2F61B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70880" y="4211117"/>
            <a:ext cx="745587" cy="652646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>
                <a:solidFill>
                  <a:schemeClr val="bg1"/>
                </a:solidFill>
              </a:rPr>
              <a:t>000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000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153</a:t>
            </a:r>
          </a:p>
        </p:txBody>
      </p:sp>
      <p:sp>
        <p:nvSpPr>
          <p:cNvPr id="111" name="Rectangle 5">
            <a:extLst>
              <a:ext uri="{FF2B5EF4-FFF2-40B4-BE49-F238E27FC236}">
                <a16:creationId xmlns:a16="http://schemas.microsoft.com/office/drawing/2014/main" id="{018D6587-36CA-44C7-B9E1-A97E4A967C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91744" y="4211117"/>
            <a:ext cx="745587" cy="65264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/>
            <a:r>
              <a:rPr lang="de-DE" sz="1200" dirty="0"/>
              <a:t>255</a:t>
            </a:r>
            <a:br>
              <a:rPr lang="de-DE" sz="1200" dirty="0"/>
            </a:br>
            <a:r>
              <a:rPr lang="de-DE" sz="1200" dirty="0"/>
              <a:t>255</a:t>
            </a:r>
            <a:br>
              <a:rPr lang="de-DE" sz="1200" dirty="0"/>
            </a:br>
            <a:r>
              <a:rPr lang="de-DE" sz="1200" dirty="0"/>
              <a:t>255</a:t>
            </a:r>
          </a:p>
        </p:txBody>
      </p: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C63C6599-9068-43E6-A522-4A29CE129944}"/>
              </a:ext>
            </a:extLst>
          </p:cNvPr>
          <p:cNvGrpSpPr/>
          <p:nvPr/>
        </p:nvGrpSpPr>
        <p:grpSpPr bwMode="gray">
          <a:xfrm>
            <a:off x="3791744" y="3284984"/>
            <a:ext cx="1495250" cy="175892"/>
            <a:chOff x="539750" y="1940114"/>
            <a:chExt cx="1224136" cy="144000"/>
          </a:xfrm>
        </p:grpSpPr>
        <p:cxnSp>
          <p:nvCxnSpPr>
            <p:cNvPr id="120" name="Gerade Verbindung 82">
              <a:extLst>
                <a:ext uri="{FF2B5EF4-FFF2-40B4-BE49-F238E27FC236}">
                  <a16:creationId xmlns:a16="http://schemas.microsoft.com/office/drawing/2014/main" id="{2E055E69-87BA-4D8F-882E-E6A008B41037}"/>
                </a:ext>
              </a:extLst>
            </p:cNvPr>
            <p:cNvCxnSpPr/>
            <p:nvPr/>
          </p:nvCxnSpPr>
          <p:spPr bwMode="gray">
            <a:xfrm>
              <a:off x="539750" y="2012114"/>
              <a:ext cx="122413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34559687-4FC5-4260-B815-3E837F90E9E8}"/>
                </a:ext>
              </a:extLst>
            </p:cNvPr>
            <p:cNvSpPr/>
            <p:nvPr/>
          </p:nvSpPr>
          <p:spPr bwMode="gray">
            <a:xfrm>
              <a:off x="737772" y="1940114"/>
              <a:ext cx="828092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de-DE" sz="1200" b="1" dirty="0">
                  <a:solidFill>
                    <a:schemeClr val="tx1"/>
                  </a:solidFill>
                </a:rPr>
                <a:t>Hintergrund-</a:t>
              </a:r>
              <a:r>
                <a:rPr lang="de-DE" sz="1200" dirty="0">
                  <a:solidFill>
                    <a:schemeClr val="tx1"/>
                  </a:solidFill>
                </a:rPr>
                <a:t> und </a:t>
              </a:r>
              <a:r>
                <a:rPr lang="de-DE" sz="1200" b="1" dirty="0" err="1">
                  <a:solidFill>
                    <a:schemeClr val="tx1"/>
                  </a:solidFill>
                </a:rPr>
                <a:t>Typofarbe</a:t>
              </a:r>
              <a:endParaRPr lang="de-DE" sz="12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8AD9860C-B2A4-4BB6-8FA5-2BF017EDB157}"/>
              </a:ext>
            </a:extLst>
          </p:cNvPr>
          <p:cNvGrpSpPr/>
          <p:nvPr/>
        </p:nvGrpSpPr>
        <p:grpSpPr bwMode="gray">
          <a:xfrm>
            <a:off x="5418928" y="3284984"/>
            <a:ext cx="1495250" cy="175892"/>
            <a:chOff x="575754" y="1940114"/>
            <a:chExt cx="1224136" cy="144000"/>
          </a:xfrm>
        </p:grpSpPr>
        <p:cxnSp>
          <p:nvCxnSpPr>
            <p:cNvPr id="123" name="Gerade Verbindung 85">
              <a:extLst>
                <a:ext uri="{FF2B5EF4-FFF2-40B4-BE49-F238E27FC236}">
                  <a16:creationId xmlns:a16="http://schemas.microsoft.com/office/drawing/2014/main" id="{60C7E023-5FC8-4B35-9C6F-FF27E2E2FA62}"/>
                </a:ext>
              </a:extLst>
            </p:cNvPr>
            <p:cNvCxnSpPr/>
            <p:nvPr/>
          </p:nvCxnSpPr>
          <p:spPr bwMode="gray">
            <a:xfrm>
              <a:off x="575754" y="2012114"/>
              <a:ext cx="122413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Rechteck 123">
              <a:extLst>
                <a:ext uri="{FF2B5EF4-FFF2-40B4-BE49-F238E27FC236}">
                  <a16:creationId xmlns:a16="http://schemas.microsoft.com/office/drawing/2014/main" id="{0C8132D6-78AD-4D81-B79E-AAE156FACA90}"/>
                </a:ext>
              </a:extLst>
            </p:cNvPr>
            <p:cNvSpPr/>
            <p:nvPr/>
          </p:nvSpPr>
          <p:spPr bwMode="gray">
            <a:xfrm>
              <a:off x="773776" y="1940114"/>
              <a:ext cx="828092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de-DE" sz="1200" b="1" dirty="0">
                  <a:solidFill>
                    <a:schemeClr val="tx1"/>
                  </a:solidFill>
                </a:rPr>
                <a:t>CI-Farben</a:t>
              </a:r>
              <a:br>
                <a:rPr lang="de-DE" sz="1200" b="1" dirty="0">
                  <a:solidFill>
                    <a:schemeClr val="tx1"/>
                  </a:solidFill>
                </a:rPr>
              </a:br>
              <a:r>
                <a:rPr lang="de-DE" sz="1200" dirty="0">
                  <a:solidFill>
                    <a:schemeClr val="tx1"/>
                  </a:solidFill>
                </a:rPr>
                <a:t>primär</a:t>
              </a:r>
            </a:p>
          </p:txBody>
        </p: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DFC8D182-0574-46E1-810F-3B9016D7798D}"/>
              </a:ext>
            </a:extLst>
          </p:cNvPr>
          <p:cNvGrpSpPr/>
          <p:nvPr/>
        </p:nvGrpSpPr>
        <p:grpSpPr bwMode="gray">
          <a:xfrm>
            <a:off x="7222024" y="3284984"/>
            <a:ext cx="4572664" cy="175892"/>
            <a:chOff x="647762" y="1940114"/>
            <a:chExt cx="3743562" cy="144000"/>
          </a:xfrm>
        </p:grpSpPr>
        <p:cxnSp>
          <p:nvCxnSpPr>
            <p:cNvPr id="126" name="Gerade Verbindung 95">
              <a:extLst>
                <a:ext uri="{FF2B5EF4-FFF2-40B4-BE49-F238E27FC236}">
                  <a16:creationId xmlns:a16="http://schemas.microsoft.com/office/drawing/2014/main" id="{FDA96DC6-817E-42E4-9638-B2F15E11F7F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47762" y="2012114"/>
              <a:ext cx="3743562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Rechteck 126">
              <a:extLst>
                <a:ext uri="{FF2B5EF4-FFF2-40B4-BE49-F238E27FC236}">
                  <a16:creationId xmlns:a16="http://schemas.microsoft.com/office/drawing/2014/main" id="{624DE371-6992-44D4-A7AE-702D9FDE2392}"/>
                </a:ext>
              </a:extLst>
            </p:cNvPr>
            <p:cNvSpPr/>
            <p:nvPr/>
          </p:nvSpPr>
          <p:spPr bwMode="gray">
            <a:xfrm>
              <a:off x="2015914" y="1940114"/>
              <a:ext cx="828092" cy="14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de-DE" sz="1200" b="1" dirty="0">
                  <a:solidFill>
                    <a:schemeClr val="tx1"/>
                  </a:solidFill>
                </a:rPr>
                <a:t>Akzentfarben</a:t>
              </a:r>
              <a:br>
                <a:rPr lang="de-DE" sz="1200" b="1" dirty="0">
                  <a:solidFill>
                    <a:schemeClr val="tx1"/>
                  </a:solidFill>
                </a:rPr>
              </a:br>
              <a:r>
                <a:rPr lang="de-DE" sz="1200" dirty="0">
                  <a:solidFill>
                    <a:schemeClr val="tx1"/>
                  </a:solidFill>
                </a:rPr>
                <a:t>sekundär</a:t>
              </a:r>
            </a:p>
          </p:txBody>
        </p:sp>
      </p:grpSp>
      <p:sp>
        <p:nvSpPr>
          <p:cNvPr id="52" name="Rectangle 76">
            <a:extLst>
              <a:ext uri="{FF2B5EF4-FFF2-40B4-BE49-F238E27FC236}">
                <a16:creationId xmlns:a16="http://schemas.microsoft.com/office/drawing/2014/main" id="{D8F59B0F-6066-4F92-88C0-4A804D4F73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91822" y="5143470"/>
            <a:ext cx="745587" cy="20348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53" name="Rectangle 77">
            <a:extLst>
              <a:ext uri="{FF2B5EF4-FFF2-40B4-BE49-F238E27FC236}">
                <a16:creationId xmlns:a16="http://schemas.microsoft.com/office/drawing/2014/main" id="{9216FCC8-29AF-47EE-8888-130B7D1F0BB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0148" y="5143470"/>
            <a:ext cx="745587" cy="20348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54" name="Rectangle 78">
            <a:extLst>
              <a:ext uri="{FF2B5EF4-FFF2-40B4-BE49-F238E27FC236}">
                <a16:creationId xmlns:a16="http://schemas.microsoft.com/office/drawing/2014/main" id="{E69AD765-ACFD-46AE-84EB-EA721807123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0612" y="5143470"/>
            <a:ext cx="745587" cy="20348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55" name="Rectangle 79">
            <a:extLst>
              <a:ext uri="{FF2B5EF4-FFF2-40B4-BE49-F238E27FC236}">
                <a16:creationId xmlns:a16="http://schemas.microsoft.com/office/drawing/2014/main" id="{447005D8-C623-4A8B-ABC1-F6817DE00BC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7121" y="5143470"/>
            <a:ext cx="745587" cy="2034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56" name="Rectangle 80">
            <a:extLst>
              <a:ext uri="{FF2B5EF4-FFF2-40B4-BE49-F238E27FC236}">
                <a16:creationId xmlns:a16="http://schemas.microsoft.com/office/drawing/2014/main" id="{D26F9F47-2F06-4BEF-B3F5-CE010D582F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33859" y="5143470"/>
            <a:ext cx="745587" cy="203485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57" name="Rectangle 81">
            <a:extLst>
              <a:ext uri="{FF2B5EF4-FFF2-40B4-BE49-F238E27FC236}">
                <a16:creationId xmlns:a16="http://schemas.microsoft.com/office/drawing/2014/main" id="{BDE33687-D6D9-464B-A1BF-FA7A6CB645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69499" y="5143470"/>
            <a:ext cx="745587" cy="2034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58" name="Rectangle 82">
            <a:extLst>
              <a:ext uri="{FF2B5EF4-FFF2-40B4-BE49-F238E27FC236}">
                <a16:creationId xmlns:a16="http://schemas.microsoft.com/office/drawing/2014/main" id="{54D62C8D-7110-474F-A194-7A7F7E28A8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17274" y="5143470"/>
            <a:ext cx="747625" cy="20348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59" name="Rectangle 83">
            <a:extLst>
              <a:ext uri="{FF2B5EF4-FFF2-40B4-BE49-F238E27FC236}">
                <a16:creationId xmlns:a16="http://schemas.microsoft.com/office/drawing/2014/main" id="{7CDBD67C-682A-4E7C-81D3-33806B22CA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9464900" y="5143470"/>
            <a:ext cx="745587" cy="20348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0" name="Rectangle 84">
            <a:extLst>
              <a:ext uri="{FF2B5EF4-FFF2-40B4-BE49-F238E27FC236}">
                <a16:creationId xmlns:a16="http://schemas.microsoft.com/office/drawing/2014/main" id="{58231F25-A9FC-42EF-9109-7AAD911581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12525" y="5143470"/>
            <a:ext cx="745587" cy="20348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1" name="Rectangle 85">
            <a:extLst>
              <a:ext uri="{FF2B5EF4-FFF2-40B4-BE49-F238E27FC236}">
                <a16:creationId xmlns:a16="http://schemas.microsoft.com/office/drawing/2014/main" id="{F83BEAD5-85AC-42A6-AB23-BCAA2A9DAF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960225" y="5143470"/>
            <a:ext cx="745587" cy="2034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2" name="Rectangle 86">
            <a:extLst>
              <a:ext uri="{FF2B5EF4-FFF2-40B4-BE49-F238E27FC236}">
                <a16:creationId xmlns:a16="http://schemas.microsoft.com/office/drawing/2014/main" id="{1A010D07-8D3D-4E6D-A68C-A08CD39492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91822" y="5346502"/>
            <a:ext cx="745587" cy="20348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3" name="Rectangle 87">
            <a:extLst>
              <a:ext uri="{FF2B5EF4-FFF2-40B4-BE49-F238E27FC236}">
                <a16:creationId xmlns:a16="http://schemas.microsoft.com/office/drawing/2014/main" id="{81DDA8E1-DB26-4E20-A579-00F0FAA073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0148" y="5346502"/>
            <a:ext cx="745587" cy="203485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4" name="Rectangle 88">
            <a:extLst>
              <a:ext uri="{FF2B5EF4-FFF2-40B4-BE49-F238E27FC236}">
                <a16:creationId xmlns:a16="http://schemas.microsoft.com/office/drawing/2014/main" id="{FF39B710-C299-418E-A8E9-32C6E92FCFF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0612" y="5346502"/>
            <a:ext cx="745587" cy="20348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5" name="Rectangle 89">
            <a:extLst>
              <a:ext uri="{FF2B5EF4-FFF2-40B4-BE49-F238E27FC236}">
                <a16:creationId xmlns:a16="http://schemas.microsoft.com/office/drawing/2014/main" id="{761BD96B-0DD1-4565-814F-D8106D1DD5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7121" y="5346502"/>
            <a:ext cx="745587" cy="20348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6" name="Rectangle 90">
            <a:extLst>
              <a:ext uri="{FF2B5EF4-FFF2-40B4-BE49-F238E27FC236}">
                <a16:creationId xmlns:a16="http://schemas.microsoft.com/office/drawing/2014/main" id="{A57DB853-F694-418F-B5AD-8ECEED88FA3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33859" y="5346502"/>
            <a:ext cx="745587" cy="20348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7" name="Rectangle 91">
            <a:extLst>
              <a:ext uri="{FF2B5EF4-FFF2-40B4-BE49-F238E27FC236}">
                <a16:creationId xmlns:a16="http://schemas.microsoft.com/office/drawing/2014/main" id="{A967894D-5DCF-4380-9A05-56D00903B5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69499" y="5346502"/>
            <a:ext cx="745587" cy="20348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8" name="Rectangle 92">
            <a:extLst>
              <a:ext uri="{FF2B5EF4-FFF2-40B4-BE49-F238E27FC236}">
                <a16:creationId xmlns:a16="http://schemas.microsoft.com/office/drawing/2014/main" id="{902E3403-646B-4739-BA39-863EDA1894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17274" y="5346502"/>
            <a:ext cx="747625" cy="20348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9" name="Rectangle 93">
            <a:extLst>
              <a:ext uri="{FF2B5EF4-FFF2-40B4-BE49-F238E27FC236}">
                <a16:creationId xmlns:a16="http://schemas.microsoft.com/office/drawing/2014/main" id="{E8AE88C1-2F09-4034-9D99-B45FD40217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464900" y="5346502"/>
            <a:ext cx="745587" cy="20348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0" name="Rectangle 94">
            <a:extLst>
              <a:ext uri="{FF2B5EF4-FFF2-40B4-BE49-F238E27FC236}">
                <a16:creationId xmlns:a16="http://schemas.microsoft.com/office/drawing/2014/main" id="{978C820F-DAE6-4DC4-96AC-B55A66D5C2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12525" y="5346502"/>
            <a:ext cx="745587" cy="20348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1" name="Rectangle 95">
            <a:extLst>
              <a:ext uri="{FF2B5EF4-FFF2-40B4-BE49-F238E27FC236}">
                <a16:creationId xmlns:a16="http://schemas.microsoft.com/office/drawing/2014/main" id="{B3F46585-7C80-4A82-B0D9-5DD8B1209B2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960225" y="5346502"/>
            <a:ext cx="745587" cy="20348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2" name="Rectangle 96">
            <a:extLst>
              <a:ext uri="{FF2B5EF4-FFF2-40B4-BE49-F238E27FC236}">
                <a16:creationId xmlns:a16="http://schemas.microsoft.com/office/drawing/2014/main" id="{4C5A5EF4-1593-412E-87D8-05E78CFD518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91822" y="5549534"/>
            <a:ext cx="745587" cy="20348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3" name="Rectangle 97">
            <a:extLst>
              <a:ext uri="{FF2B5EF4-FFF2-40B4-BE49-F238E27FC236}">
                <a16:creationId xmlns:a16="http://schemas.microsoft.com/office/drawing/2014/main" id="{27BFE90D-C587-41CE-A295-B43ECF179F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0148" y="5549534"/>
            <a:ext cx="745587" cy="203485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4" name="Rectangle 98">
            <a:extLst>
              <a:ext uri="{FF2B5EF4-FFF2-40B4-BE49-F238E27FC236}">
                <a16:creationId xmlns:a16="http://schemas.microsoft.com/office/drawing/2014/main" id="{F293D822-4147-4756-BE99-614D278D3B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0612" y="5549534"/>
            <a:ext cx="745587" cy="20348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5" name="Rectangle 99">
            <a:extLst>
              <a:ext uri="{FF2B5EF4-FFF2-40B4-BE49-F238E27FC236}">
                <a16:creationId xmlns:a16="http://schemas.microsoft.com/office/drawing/2014/main" id="{2162F1FB-CC27-44FD-A021-D4223183A6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7121" y="5549534"/>
            <a:ext cx="745587" cy="20348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6" name="Rectangle 100">
            <a:extLst>
              <a:ext uri="{FF2B5EF4-FFF2-40B4-BE49-F238E27FC236}">
                <a16:creationId xmlns:a16="http://schemas.microsoft.com/office/drawing/2014/main" id="{ED41DC29-3544-41F5-B08C-3359FC66E9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33859" y="5549534"/>
            <a:ext cx="745587" cy="20348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7" name="Rectangle 101">
            <a:extLst>
              <a:ext uri="{FF2B5EF4-FFF2-40B4-BE49-F238E27FC236}">
                <a16:creationId xmlns:a16="http://schemas.microsoft.com/office/drawing/2014/main" id="{EC7C7926-9404-4A74-980E-7728F855BE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69499" y="5549534"/>
            <a:ext cx="745587" cy="20348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8" name="Rectangle 102">
            <a:extLst>
              <a:ext uri="{FF2B5EF4-FFF2-40B4-BE49-F238E27FC236}">
                <a16:creationId xmlns:a16="http://schemas.microsoft.com/office/drawing/2014/main" id="{6A42484E-6F93-4DF6-B920-8FF7CD308D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17274" y="5549534"/>
            <a:ext cx="747625" cy="20348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9" name="Rectangle 103">
            <a:extLst>
              <a:ext uri="{FF2B5EF4-FFF2-40B4-BE49-F238E27FC236}">
                <a16:creationId xmlns:a16="http://schemas.microsoft.com/office/drawing/2014/main" id="{CD9F07C2-BC2E-482E-8004-E3EECDB638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9464900" y="5549534"/>
            <a:ext cx="745587" cy="20348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0" name="Rectangle 104">
            <a:extLst>
              <a:ext uri="{FF2B5EF4-FFF2-40B4-BE49-F238E27FC236}">
                <a16:creationId xmlns:a16="http://schemas.microsoft.com/office/drawing/2014/main" id="{3DA13D0F-2936-4541-A26E-B24FDD8E9D8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12525" y="5549534"/>
            <a:ext cx="745587" cy="20348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1" name="Rectangle 105">
            <a:extLst>
              <a:ext uri="{FF2B5EF4-FFF2-40B4-BE49-F238E27FC236}">
                <a16:creationId xmlns:a16="http://schemas.microsoft.com/office/drawing/2014/main" id="{9F0ED6C5-E490-4C91-B8C0-0C46C234F7A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960225" y="5549534"/>
            <a:ext cx="745587" cy="20348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2" name="Rectangle 106">
            <a:extLst>
              <a:ext uri="{FF2B5EF4-FFF2-40B4-BE49-F238E27FC236}">
                <a16:creationId xmlns:a16="http://schemas.microsoft.com/office/drawing/2014/main" id="{79E0A554-2605-471E-99DF-AFC805DF650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91822" y="5752567"/>
            <a:ext cx="745587" cy="203485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3" name="Rectangle 107">
            <a:extLst>
              <a:ext uri="{FF2B5EF4-FFF2-40B4-BE49-F238E27FC236}">
                <a16:creationId xmlns:a16="http://schemas.microsoft.com/office/drawing/2014/main" id="{1DCF53DD-CCC1-4292-BB94-B54D46F2F799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0148" y="5752567"/>
            <a:ext cx="745587" cy="203485"/>
          </a:xfrm>
          <a:prstGeom prst="rect">
            <a:avLst/>
          </a:prstGeom>
          <a:solidFill>
            <a:schemeClr val="tx1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4" name="Rectangle 108">
            <a:extLst>
              <a:ext uri="{FF2B5EF4-FFF2-40B4-BE49-F238E27FC236}">
                <a16:creationId xmlns:a16="http://schemas.microsoft.com/office/drawing/2014/main" id="{C07F15A4-2536-4FD0-A0F5-A0DDCF9901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0612" y="5752567"/>
            <a:ext cx="745587" cy="20348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5" name="Rectangle 109">
            <a:extLst>
              <a:ext uri="{FF2B5EF4-FFF2-40B4-BE49-F238E27FC236}">
                <a16:creationId xmlns:a16="http://schemas.microsoft.com/office/drawing/2014/main" id="{D1A5B49A-BDA0-418D-A280-565B104C26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7121" y="5752567"/>
            <a:ext cx="745587" cy="203485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6" name="Rectangle 110">
            <a:extLst>
              <a:ext uri="{FF2B5EF4-FFF2-40B4-BE49-F238E27FC236}">
                <a16:creationId xmlns:a16="http://schemas.microsoft.com/office/drawing/2014/main" id="{21432110-3AEF-4621-BDF1-329636D9D9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33859" y="5752567"/>
            <a:ext cx="745587" cy="203485"/>
          </a:xfrm>
          <a:prstGeom prst="rect">
            <a:avLst/>
          </a:prstGeom>
          <a:solidFill>
            <a:schemeClr val="accent1">
              <a:lumMod val="2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7" name="Rectangle 111">
            <a:extLst>
              <a:ext uri="{FF2B5EF4-FFF2-40B4-BE49-F238E27FC236}">
                <a16:creationId xmlns:a16="http://schemas.microsoft.com/office/drawing/2014/main" id="{B1E8A0CE-1C4C-4173-8E7A-5BB2AF74F1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69499" y="5752567"/>
            <a:ext cx="745587" cy="20348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8" name="Rectangle 112">
            <a:extLst>
              <a:ext uri="{FF2B5EF4-FFF2-40B4-BE49-F238E27FC236}">
                <a16:creationId xmlns:a16="http://schemas.microsoft.com/office/drawing/2014/main" id="{DFE45C60-EFF0-43EA-8851-F14CBA8189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17274" y="5752567"/>
            <a:ext cx="747625" cy="20348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9" name="Rectangle 113">
            <a:extLst>
              <a:ext uri="{FF2B5EF4-FFF2-40B4-BE49-F238E27FC236}">
                <a16:creationId xmlns:a16="http://schemas.microsoft.com/office/drawing/2014/main" id="{70B59A99-5899-4214-9A5F-56DD7EBB51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464900" y="5752567"/>
            <a:ext cx="745587" cy="203485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0" name="Rectangle 114">
            <a:extLst>
              <a:ext uri="{FF2B5EF4-FFF2-40B4-BE49-F238E27FC236}">
                <a16:creationId xmlns:a16="http://schemas.microsoft.com/office/drawing/2014/main" id="{524A43C6-24F5-464D-9875-103CEFE8D32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12525" y="5752567"/>
            <a:ext cx="745587" cy="20348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1" name="Rectangle 115">
            <a:extLst>
              <a:ext uri="{FF2B5EF4-FFF2-40B4-BE49-F238E27FC236}">
                <a16:creationId xmlns:a16="http://schemas.microsoft.com/office/drawing/2014/main" id="{C840175E-DB27-4184-896E-979335356A5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960225" y="5752567"/>
            <a:ext cx="745587" cy="20348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2" name="Rectangle 116">
            <a:extLst>
              <a:ext uri="{FF2B5EF4-FFF2-40B4-BE49-F238E27FC236}">
                <a16:creationId xmlns:a16="http://schemas.microsoft.com/office/drawing/2014/main" id="{721FC3EC-42F8-4302-8BD4-3C2CC99BC4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91822" y="5955599"/>
            <a:ext cx="745587" cy="20348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3" name="Rectangle 117">
            <a:extLst>
              <a:ext uri="{FF2B5EF4-FFF2-40B4-BE49-F238E27FC236}">
                <a16:creationId xmlns:a16="http://schemas.microsoft.com/office/drawing/2014/main" id="{6C8682E7-631A-4759-9D87-C96B4CF395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40148" y="5955599"/>
            <a:ext cx="745587" cy="203485"/>
          </a:xfrm>
          <a:prstGeom prst="rect">
            <a:avLst/>
          </a:prstGeom>
          <a:solidFill>
            <a:schemeClr val="tx1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4" name="Rectangle 118">
            <a:extLst>
              <a:ext uri="{FF2B5EF4-FFF2-40B4-BE49-F238E27FC236}">
                <a16:creationId xmlns:a16="http://schemas.microsoft.com/office/drawing/2014/main" id="{40D5E442-EAF4-4DFB-86DF-CE2EC8987C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0612" y="5955599"/>
            <a:ext cx="745587" cy="203485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5" name="Rectangle 119">
            <a:extLst>
              <a:ext uri="{FF2B5EF4-FFF2-40B4-BE49-F238E27FC236}">
                <a16:creationId xmlns:a16="http://schemas.microsoft.com/office/drawing/2014/main" id="{2E596B35-DEC0-45A5-A8A9-8C7E96068B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7121" y="5955599"/>
            <a:ext cx="745587" cy="203485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6" name="Rectangle 120">
            <a:extLst>
              <a:ext uri="{FF2B5EF4-FFF2-40B4-BE49-F238E27FC236}">
                <a16:creationId xmlns:a16="http://schemas.microsoft.com/office/drawing/2014/main" id="{BAE75D3B-856E-4454-816F-8B05779772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33859" y="5955599"/>
            <a:ext cx="745587" cy="203485"/>
          </a:xfrm>
          <a:prstGeom prst="rect">
            <a:avLst/>
          </a:prstGeom>
          <a:solidFill>
            <a:schemeClr val="accent1">
              <a:lumMod val="1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7" name="Rectangle 121">
            <a:extLst>
              <a:ext uri="{FF2B5EF4-FFF2-40B4-BE49-F238E27FC236}">
                <a16:creationId xmlns:a16="http://schemas.microsoft.com/office/drawing/2014/main" id="{404F2FC5-9B68-4CE5-B004-7763C5F900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69499" y="5955599"/>
            <a:ext cx="745587" cy="203485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8" name="Rectangle 122">
            <a:extLst>
              <a:ext uri="{FF2B5EF4-FFF2-40B4-BE49-F238E27FC236}">
                <a16:creationId xmlns:a16="http://schemas.microsoft.com/office/drawing/2014/main" id="{FEF037B2-A687-42D5-93B4-09FC00E7D0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17274" y="5955599"/>
            <a:ext cx="747625" cy="20348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99" name="Rectangle 123">
            <a:extLst>
              <a:ext uri="{FF2B5EF4-FFF2-40B4-BE49-F238E27FC236}">
                <a16:creationId xmlns:a16="http://schemas.microsoft.com/office/drawing/2014/main" id="{54F681A6-585D-492C-AF0A-F39B4DF42C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9464900" y="5955599"/>
            <a:ext cx="745587" cy="20348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00" name="Rectangle 124">
            <a:extLst>
              <a:ext uri="{FF2B5EF4-FFF2-40B4-BE49-F238E27FC236}">
                <a16:creationId xmlns:a16="http://schemas.microsoft.com/office/drawing/2014/main" id="{0D7DC625-887E-47E7-8726-F5E9EF0C7F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12525" y="5955599"/>
            <a:ext cx="745587" cy="203485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01" name="Rectangle 125">
            <a:extLst>
              <a:ext uri="{FF2B5EF4-FFF2-40B4-BE49-F238E27FC236}">
                <a16:creationId xmlns:a16="http://schemas.microsoft.com/office/drawing/2014/main" id="{4B66139B-123C-4049-9346-67E790CC46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960225" y="5955599"/>
            <a:ext cx="745587" cy="20348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cxnSp>
        <p:nvCxnSpPr>
          <p:cNvPr id="112" name="Gerade Verbindung 76">
            <a:extLst>
              <a:ext uri="{FF2B5EF4-FFF2-40B4-BE49-F238E27FC236}">
                <a16:creationId xmlns:a16="http://schemas.microsoft.com/office/drawing/2014/main" id="{1D890359-23D2-4D35-8BE9-CE16182066DB}"/>
              </a:ext>
            </a:extLst>
          </p:cNvPr>
          <p:cNvCxnSpPr>
            <a:cxnSpLocks/>
          </p:cNvCxnSpPr>
          <p:nvPr/>
        </p:nvCxnSpPr>
        <p:spPr bwMode="gray">
          <a:xfrm>
            <a:off x="5460836" y="5145006"/>
            <a:ext cx="705363" cy="100556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90">
            <a:extLst>
              <a:ext uri="{FF2B5EF4-FFF2-40B4-BE49-F238E27FC236}">
                <a16:creationId xmlns:a16="http://schemas.microsoft.com/office/drawing/2014/main" id="{25150B4D-7426-4E2B-A7CC-51C727640C05}"/>
              </a:ext>
            </a:extLst>
          </p:cNvPr>
          <p:cNvCxnSpPr>
            <a:cxnSpLocks/>
          </p:cNvCxnSpPr>
          <p:nvPr/>
        </p:nvCxnSpPr>
        <p:spPr bwMode="gray">
          <a:xfrm>
            <a:off x="6207345" y="51450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Gerade Verbindung 90">
            <a:extLst>
              <a:ext uri="{FF2B5EF4-FFF2-40B4-BE49-F238E27FC236}">
                <a16:creationId xmlns:a16="http://schemas.microsoft.com/office/drawing/2014/main" id="{754059E7-7185-952A-ABEE-5EFA9F3665C7}"/>
              </a:ext>
            </a:extLst>
          </p:cNvPr>
          <p:cNvCxnSpPr>
            <a:cxnSpLocks/>
          </p:cNvCxnSpPr>
          <p:nvPr/>
        </p:nvCxnSpPr>
        <p:spPr bwMode="gray">
          <a:xfrm>
            <a:off x="7274083" y="51450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90">
            <a:extLst>
              <a:ext uri="{FF2B5EF4-FFF2-40B4-BE49-F238E27FC236}">
                <a16:creationId xmlns:a16="http://schemas.microsoft.com/office/drawing/2014/main" id="{456C5DCC-3A94-4130-8408-FC96C58DAE2E}"/>
              </a:ext>
            </a:extLst>
          </p:cNvPr>
          <p:cNvCxnSpPr>
            <a:cxnSpLocks/>
          </p:cNvCxnSpPr>
          <p:nvPr/>
        </p:nvCxnSpPr>
        <p:spPr bwMode="gray">
          <a:xfrm>
            <a:off x="8009723" y="51450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Gerade Verbindung 90">
            <a:extLst>
              <a:ext uri="{FF2B5EF4-FFF2-40B4-BE49-F238E27FC236}">
                <a16:creationId xmlns:a16="http://schemas.microsoft.com/office/drawing/2014/main" id="{C7AC1EC6-C085-1C87-5A9C-A195E3C4871A}"/>
              </a:ext>
            </a:extLst>
          </p:cNvPr>
          <p:cNvCxnSpPr>
            <a:cxnSpLocks/>
          </p:cNvCxnSpPr>
          <p:nvPr/>
        </p:nvCxnSpPr>
        <p:spPr bwMode="gray">
          <a:xfrm>
            <a:off x="8759536" y="51450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90">
            <a:extLst>
              <a:ext uri="{FF2B5EF4-FFF2-40B4-BE49-F238E27FC236}">
                <a16:creationId xmlns:a16="http://schemas.microsoft.com/office/drawing/2014/main" id="{B8BCDF42-ED38-1B0A-0FE7-57131EBD3526}"/>
              </a:ext>
            </a:extLst>
          </p:cNvPr>
          <p:cNvCxnSpPr>
            <a:cxnSpLocks/>
          </p:cNvCxnSpPr>
          <p:nvPr/>
        </p:nvCxnSpPr>
        <p:spPr bwMode="gray">
          <a:xfrm>
            <a:off x="9505124" y="51450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Gerade Verbindung 90">
            <a:extLst>
              <a:ext uri="{FF2B5EF4-FFF2-40B4-BE49-F238E27FC236}">
                <a16:creationId xmlns:a16="http://schemas.microsoft.com/office/drawing/2014/main" id="{1B6C7A15-A528-791A-35D7-E8AFC941B5FA}"/>
              </a:ext>
            </a:extLst>
          </p:cNvPr>
          <p:cNvCxnSpPr>
            <a:cxnSpLocks/>
          </p:cNvCxnSpPr>
          <p:nvPr/>
        </p:nvCxnSpPr>
        <p:spPr bwMode="gray">
          <a:xfrm>
            <a:off x="10252749" y="51450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 Verbindung 90">
            <a:extLst>
              <a:ext uri="{FF2B5EF4-FFF2-40B4-BE49-F238E27FC236}">
                <a16:creationId xmlns:a16="http://schemas.microsoft.com/office/drawing/2014/main" id="{99DA64C2-15A3-D657-195A-4589C696D042}"/>
              </a:ext>
            </a:extLst>
          </p:cNvPr>
          <p:cNvCxnSpPr>
            <a:cxnSpLocks/>
          </p:cNvCxnSpPr>
          <p:nvPr/>
        </p:nvCxnSpPr>
        <p:spPr bwMode="gray">
          <a:xfrm>
            <a:off x="11000449" y="5145006"/>
            <a:ext cx="705363" cy="98162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 70">
            <a:extLst>
              <a:ext uri="{FF2B5EF4-FFF2-40B4-BE49-F238E27FC236}">
                <a16:creationId xmlns:a16="http://schemas.microsoft.com/office/drawing/2014/main" id="{94B52FC1-2A64-42FC-9C49-4586A052BF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233992" y="38610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>
                <a:solidFill>
                  <a:schemeClr val="accent1"/>
                </a:solidFill>
              </a:rPr>
              <a:t>WARM-</a:t>
            </a:r>
            <a:br>
              <a:rPr lang="de-DE" sz="1000" dirty="0">
                <a:solidFill>
                  <a:schemeClr val="accent1"/>
                </a:solidFill>
              </a:rPr>
            </a:br>
            <a:r>
              <a:rPr lang="de-DE" sz="1000" dirty="0">
                <a:solidFill>
                  <a:schemeClr val="accent1"/>
                </a:solidFill>
              </a:rPr>
              <a:t>GRAU</a:t>
            </a:r>
          </a:p>
        </p:txBody>
      </p:sp>
      <p:sp>
        <p:nvSpPr>
          <p:cNvPr id="114" name="Rectangle 71">
            <a:extLst>
              <a:ext uri="{FF2B5EF4-FFF2-40B4-BE49-F238E27FC236}">
                <a16:creationId xmlns:a16="http://schemas.microsoft.com/office/drawing/2014/main" id="{C1F8D887-28EA-42B6-B17A-863F991ACF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71745" y="38610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>
                <a:solidFill>
                  <a:schemeClr val="accent2"/>
                </a:solidFill>
              </a:rPr>
              <a:t>LIND-</a:t>
            </a:r>
            <a:br>
              <a:rPr lang="de-DE" sz="1000" dirty="0">
                <a:solidFill>
                  <a:schemeClr val="accent2"/>
                </a:solidFill>
              </a:rPr>
            </a:br>
            <a:r>
              <a:rPr lang="de-DE" sz="1000" dirty="0">
                <a:solidFill>
                  <a:schemeClr val="accent2"/>
                </a:solidFill>
              </a:rPr>
              <a:t>GRÜN</a:t>
            </a:r>
          </a:p>
        </p:txBody>
      </p:sp>
      <p:sp>
        <p:nvSpPr>
          <p:cNvPr id="115" name="Rectangle 72">
            <a:extLst>
              <a:ext uri="{FF2B5EF4-FFF2-40B4-BE49-F238E27FC236}">
                <a16:creationId xmlns:a16="http://schemas.microsoft.com/office/drawing/2014/main" id="{31AD9345-91D4-4F8F-8B21-D43307FF37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17407" y="3861048"/>
            <a:ext cx="747625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>
                <a:solidFill>
                  <a:schemeClr val="accent3"/>
                </a:solidFill>
              </a:rPr>
              <a:t>AQUA-</a:t>
            </a:r>
            <a:br>
              <a:rPr lang="de-DE" sz="1000" dirty="0">
                <a:solidFill>
                  <a:schemeClr val="accent3"/>
                </a:solidFill>
              </a:rPr>
            </a:br>
            <a:r>
              <a:rPr lang="de-DE" sz="1000" dirty="0">
                <a:solidFill>
                  <a:schemeClr val="accent3"/>
                </a:solidFill>
              </a:rPr>
              <a:t>MARIN</a:t>
            </a:r>
          </a:p>
        </p:txBody>
      </p:sp>
      <p:sp>
        <p:nvSpPr>
          <p:cNvPr id="116" name="Rectangle 73">
            <a:extLst>
              <a:ext uri="{FF2B5EF4-FFF2-40B4-BE49-F238E27FC236}">
                <a16:creationId xmlns:a16="http://schemas.microsoft.com/office/drawing/2014/main" id="{6F4F02F4-36ED-424A-B6E1-66B3B38F77A4}"/>
              </a:ext>
            </a:extLst>
          </p:cNvPr>
          <p:cNvSpPr>
            <a:spLocks noChangeArrowheads="1"/>
          </p:cNvSpPr>
          <p:nvPr/>
        </p:nvSpPr>
        <p:spPr bwMode="gray">
          <a:xfrm>
            <a:off x="9467071" y="38610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>
                <a:solidFill>
                  <a:schemeClr val="accent4"/>
                </a:solidFill>
              </a:rPr>
              <a:t>AZURE</a:t>
            </a:r>
          </a:p>
        </p:txBody>
      </p:sp>
      <p:sp>
        <p:nvSpPr>
          <p:cNvPr id="117" name="Rectangle 74">
            <a:extLst>
              <a:ext uri="{FF2B5EF4-FFF2-40B4-BE49-F238E27FC236}">
                <a16:creationId xmlns:a16="http://schemas.microsoft.com/office/drawing/2014/main" id="{661EF144-C3EB-4AE7-8D09-724E64E780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214771" y="38610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>
                <a:solidFill>
                  <a:schemeClr val="accent5"/>
                </a:solidFill>
              </a:rPr>
              <a:t>SONEN-</a:t>
            </a:r>
            <a:br>
              <a:rPr lang="de-DE" sz="1000" dirty="0">
                <a:solidFill>
                  <a:schemeClr val="accent5"/>
                </a:solidFill>
              </a:rPr>
            </a:br>
            <a:r>
              <a:rPr lang="de-DE" sz="1000" dirty="0">
                <a:solidFill>
                  <a:schemeClr val="accent5"/>
                </a:solidFill>
              </a:rPr>
              <a:t>GELB</a:t>
            </a:r>
          </a:p>
        </p:txBody>
      </p:sp>
      <p:sp>
        <p:nvSpPr>
          <p:cNvPr id="118" name="Rectangle 75">
            <a:extLst>
              <a:ext uri="{FF2B5EF4-FFF2-40B4-BE49-F238E27FC236}">
                <a16:creationId xmlns:a16="http://schemas.microsoft.com/office/drawing/2014/main" id="{E5C74997-EDDD-48A0-9242-7953D859A00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962471" y="38610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>
                <a:solidFill>
                  <a:schemeClr val="accent6"/>
                </a:solidFill>
              </a:rPr>
              <a:t>GRAU-</a:t>
            </a:r>
            <a:br>
              <a:rPr lang="de-DE" sz="1000" dirty="0">
                <a:solidFill>
                  <a:schemeClr val="accent6"/>
                </a:solidFill>
              </a:rPr>
            </a:br>
            <a:r>
              <a:rPr lang="de-DE" sz="1000" dirty="0">
                <a:solidFill>
                  <a:schemeClr val="accent6"/>
                </a:solidFill>
              </a:rPr>
              <a:t>BEIGE</a:t>
            </a:r>
          </a:p>
        </p:txBody>
      </p:sp>
      <p:sp>
        <p:nvSpPr>
          <p:cNvPr id="129" name="Rectangle 67">
            <a:extLst>
              <a:ext uri="{FF2B5EF4-FFF2-40B4-BE49-F238E27FC236}">
                <a16:creationId xmlns:a16="http://schemas.microsoft.com/office/drawing/2014/main" id="{0C0B222B-24C0-477E-BFB4-55BD3A0F87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82938" y="38610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/>
              <a:t>SCHWARZ</a:t>
            </a:r>
          </a:p>
        </p:txBody>
      </p:sp>
      <p:sp>
        <p:nvSpPr>
          <p:cNvPr id="130" name="Rectangle 68">
            <a:extLst>
              <a:ext uri="{FF2B5EF4-FFF2-40B4-BE49-F238E27FC236}">
                <a16:creationId xmlns:a16="http://schemas.microsoft.com/office/drawing/2014/main" id="{0CD549FF-F5B8-4169-9F3D-D4EDDD9D41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65265" y="38610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>
                <a:solidFill>
                  <a:schemeClr val="bg2"/>
                </a:solidFill>
              </a:rPr>
              <a:t>IMPULS-</a:t>
            </a:r>
            <a:br>
              <a:rPr lang="de-DE" sz="1000" dirty="0">
                <a:solidFill>
                  <a:schemeClr val="bg2"/>
                </a:solidFill>
              </a:rPr>
            </a:br>
            <a:r>
              <a:rPr lang="de-DE" sz="1000" dirty="0">
                <a:solidFill>
                  <a:schemeClr val="bg2"/>
                </a:solidFill>
              </a:rPr>
              <a:t>ORANGE</a:t>
            </a:r>
          </a:p>
        </p:txBody>
      </p:sp>
      <p:sp>
        <p:nvSpPr>
          <p:cNvPr id="131" name="Rectangle 69">
            <a:extLst>
              <a:ext uri="{FF2B5EF4-FFF2-40B4-BE49-F238E27FC236}">
                <a16:creationId xmlns:a16="http://schemas.microsoft.com/office/drawing/2014/main" id="{1AD6BAA3-7600-4D43-BD78-692CEE033F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13670" y="38610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>
                <a:solidFill>
                  <a:schemeClr val="tx2"/>
                </a:solidFill>
              </a:rPr>
              <a:t>TIEFEN-</a:t>
            </a:r>
            <a:br>
              <a:rPr lang="de-DE" sz="1000" dirty="0">
                <a:solidFill>
                  <a:schemeClr val="tx2"/>
                </a:solidFill>
              </a:rPr>
            </a:br>
            <a:r>
              <a:rPr lang="de-DE" sz="1000" dirty="0">
                <a:solidFill>
                  <a:schemeClr val="tx2"/>
                </a:solidFill>
              </a:rPr>
              <a:t>BLAU</a:t>
            </a:r>
          </a:p>
        </p:txBody>
      </p:sp>
      <p:sp>
        <p:nvSpPr>
          <p:cNvPr id="132" name="Rectangle 5">
            <a:extLst>
              <a:ext uri="{FF2B5EF4-FFF2-40B4-BE49-F238E27FC236}">
                <a16:creationId xmlns:a16="http://schemas.microsoft.com/office/drawing/2014/main" id="{F0724943-7ADB-4BC5-A472-D12BD4DEE58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34534" y="3861048"/>
            <a:ext cx="745587" cy="2520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b" anchorCtr="0"/>
          <a:lstStyle/>
          <a:p>
            <a:pPr algn="r"/>
            <a:r>
              <a:rPr lang="de-DE" sz="1000" dirty="0" err="1"/>
              <a:t>WEIß</a:t>
            </a:r>
            <a:endParaRPr lang="de-DE" sz="10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B68C7AF-6FEF-9510-A86E-89679EBBFDA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451" y="2275779"/>
            <a:ext cx="2231628" cy="1657277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9915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chtige Grundeinstellungen 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82E6AE8F-70A4-37BD-14FD-12CFF16A606B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791325" y="1844675"/>
            <a:ext cx="5400675" cy="4429125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8E3DCC9-87BD-77C0-6C4A-0558A09A70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6753" y="1892708"/>
            <a:ext cx="5699235" cy="4128292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B11BE92-5D25-27D3-A4A9-A040BD9B61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8000" y="3151925"/>
            <a:ext cx="3335415" cy="3130050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1" name="Gruppieren 10"/>
          <p:cNvGrpSpPr/>
          <p:nvPr/>
        </p:nvGrpSpPr>
        <p:grpSpPr>
          <a:xfrm>
            <a:off x="7464000" y="4509001"/>
            <a:ext cx="3299551" cy="432000"/>
            <a:chOff x="6274050" y="2157412"/>
            <a:chExt cx="2474663" cy="155568"/>
          </a:xfrm>
        </p:grpSpPr>
        <p:sp>
          <p:nvSpPr>
            <p:cNvPr id="12" name="Rechteck 11"/>
            <p:cNvSpPr/>
            <p:nvPr/>
          </p:nvSpPr>
          <p:spPr>
            <a:xfrm>
              <a:off x="6274050" y="2157412"/>
              <a:ext cx="2474663" cy="155568"/>
            </a:xfrm>
            <a:prstGeom prst="rect">
              <a:avLst/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8532440" y="2157412"/>
              <a:ext cx="216273" cy="155568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133" b="1" dirty="0">
                  <a:latin typeface="+mj-lt"/>
                </a:rPr>
                <a:t>!</a:t>
              </a: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019A7925-A195-5873-595A-0CA36B472C22}"/>
              </a:ext>
            </a:extLst>
          </p:cNvPr>
          <p:cNvSpPr txBox="1"/>
          <p:nvPr/>
        </p:nvSpPr>
        <p:spPr>
          <a:xfrm>
            <a:off x="407988" y="1881188"/>
            <a:ext cx="2448012" cy="1586844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pPr>
              <a:spcAft>
                <a:spcPts val="600"/>
              </a:spcAft>
            </a:pPr>
            <a:r>
              <a:rPr lang="de-DE" dirty="0">
                <a:latin typeface="+mn-lt"/>
              </a:rPr>
              <a:t>Bitte schalte alle Häkchen bei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„Währende der Eingabeübernehmen“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komplett aus. Nur so kann eine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optimale Nutzung des erstellten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Masters garantiert werden.</a:t>
            </a:r>
          </a:p>
          <a:p>
            <a:pPr>
              <a:spcAft>
                <a:spcPts val="600"/>
              </a:spcAft>
            </a:pPr>
            <a:r>
              <a:rPr lang="de-DE" b="1" dirty="0">
                <a:latin typeface="+mn-lt"/>
              </a:rPr>
              <a:t>Registerkarte</a:t>
            </a:r>
            <a:r>
              <a:rPr lang="de-DE" dirty="0">
                <a:latin typeface="+mn-lt"/>
              </a:rPr>
              <a:t>: Datei | Optionen | Dokumentenprüfung | </a:t>
            </a:r>
            <a:r>
              <a:rPr lang="de-DE" dirty="0" err="1">
                <a:latin typeface="+mn-lt"/>
              </a:rPr>
              <a:t>AutoKorrektur</a:t>
            </a:r>
            <a:r>
              <a:rPr lang="de-DE" dirty="0">
                <a:latin typeface="+mn-lt"/>
              </a:rPr>
              <a:t>-Optionen</a:t>
            </a:r>
          </a:p>
        </p:txBody>
      </p:sp>
      <p:sp>
        <p:nvSpPr>
          <p:cNvPr id="21" name="Fußzeilenplatzhalter 20">
            <a:extLst>
              <a:ext uri="{FF2B5EF4-FFF2-40B4-BE49-F238E27FC236}">
                <a16:creationId xmlns:a16="http://schemas.microsoft.com/office/drawing/2014/main" id="{4A257C63-6C4F-F006-C431-D6FEE8ED3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23" name="Foliennummernplatzhalter 22">
            <a:extLst>
              <a:ext uri="{FF2B5EF4-FFF2-40B4-BE49-F238E27FC236}">
                <a16:creationId xmlns:a16="http://schemas.microsoft.com/office/drawing/2014/main" id="{4F7E765F-F792-B737-25FF-2A24C83803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141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56D57E-0A18-4C88-9E27-C2D7B5119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runddesig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9C5341F-B403-49FE-AD32-D14CC6C121A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: 18pt Mark OT Medium</a:t>
            </a:r>
          </a:p>
          <a:p>
            <a:pPr lvl="1"/>
            <a:r>
              <a:rPr lang="de-DE" dirty="0"/>
              <a:t>Zweite Ebene: Fließtext 16pt EnBW DIN Pro</a:t>
            </a:r>
          </a:p>
          <a:p>
            <a:pPr lvl="2"/>
            <a:r>
              <a:rPr lang="de-DE" dirty="0"/>
              <a:t>Dritte Ebene: Aufzählung 16pt | Einzug: 0,7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Impuls-Orange</a:t>
            </a:r>
          </a:p>
          <a:p>
            <a:pPr lvl="3"/>
            <a:r>
              <a:rPr lang="de-DE" dirty="0"/>
              <a:t>Vierte Ebene: Aufzählung 16pt | Einzug: 1,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  <a:p>
            <a:pPr lvl="4"/>
            <a:r>
              <a:rPr lang="de-DE" dirty="0"/>
              <a:t>Fünfte Ebene: Aufzählung 16pt | Einzug: 2,2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0AE6266E-E3DA-4059-8621-A8736ADC8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5AFF8A7-B7F8-4FE4-B639-EA79B4286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FCF6D-0389-4320-9D89-9A0C90B37087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E4D35E96-9878-42AB-A27E-6F19EE1936F1}"/>
              </a:ext>
            </a:extLst>
          </p:cNvPr>
          <p:cNvSpPr/>
          <p:nvPr/>
        </p:nvSpPr>
        <p:spPr>
          <a:xfrm>
            <a:off x="1200000" y="1630700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82A8BA06-3BCC-40E6-9617-43B3967AD861}"/>
              </a:ext>
            </a:extLst>
          </p:cNvPr>
          <p:cNvSpPr/>
          <p:nvPr/>
        </p:nvSpPr>
        <p:spPr>
          <a:xfrm>
            <a:off x="2568000" y="188660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4B12AA97-6628-4D73-8241-C4D5EECB9F64}"/>
              </a:ext>
            </a:extLst>
          </p:cNvPr>
          <p:cNvSpPr/>
          <p:nvPr/>
        </p:nvSpPr>
        <p:spPr>
          <a:xfrm>
            <a:off x="4368000" y="2133000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F8882039-3DBB-49A6-8264-678DD9BA4C44}"/>
              </a:ext>
            </a:extLst>
          </p:cNvPr>
          <p:cNvSpPr/>
          <p:nvPr/>
        </p:nvSpPr>
        <p:spPr>
          <a:xfrm>
            <a:off x="11897492" y="225000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888870A0-370B-4E4B-99D9-315F4D9D18D1}"/>
              </a:ext>
            </a:extLst>
          </p:cNvPr>
          <p:cNvSpPr/>
          <p:nvPr/>
        </p:nvSpPr>
        <p:spPr>
          <a:xfrm>
            <a:off x="408000" y="2745000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110A8CEE-04B4-4649-A69C-2EAD51476A30}"/>
              </a:ext>
            </a:extLst>
          </p:cNvPr>
          <p:cNvSpPr/>
          <p:nvPr/>
        </p:nvSpPr>
        <p:spPr>
          <a:xfrm>
            <a:off x="2495600" y="6525344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3F4F61-8D0E-B3F8-E082-52B68982B6B5}"/>
              </a:ext>
            </a:extLst>
          </p:cNvPr>
          <p:cNvGrpSpPr/>
          <p:nvPr/>
        </p:nvGrpSpPr>
        <p:grpSpPr>
          <a:xfrm>
            <a:off x="6086998" y="3549104"/>
            <a:ext cx="5351195" cy="369332"/>
            <a:chOff x="5942966" y="3599728"/>
            <a:chExt cx="5351195" cy="369332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C1B0CCAE-B435-4271-9480-4F0C69EE58E9}"/>
                </a:ext>
              </a:extLst>
            </p:cNvPr>
            <p:cNvSpPr/>
            <p:nvPr/>
          </p:nvSpPr>
          <p:spPr>
            <a:xfrm>
              <a:off x="5942966" y="3599728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BE69484C-2699-44E3-A753-2882E9A2F547}"/>
                </a:ext>
              </a:extLst>
            </p:cNvPr>
            <p:cNvSpPr txBox="1"/>
            <p:nvPr/>
          </p:nvSpPr>
          <p:spPr>
            <a:xfrm>
              <a:off x="6234216" y="3599728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 dirty="0">
                  <a:solidFill>
                    <a:srgbClr val="FF00FF"/>
                  </a:solidFill>
                </a:rPr>
                <a:t>Untertitel Schriftgrößte 18 pt, Farbe: Tiefenblau, </a:t>
              </a:r>
              <a:br>
                <a:rPr lang="de-DE" sz="1200" dirty="0">
                  <a:solidFill>
                    <a:srgbClr val="FF00FF"/>
                  </a:solidFill>
                </a:rPr>
              </a:br>
              <a:r>
                <a:rPr lang="de-DE" sz="1200" dirty="0">
                  <a:solidFill>
                    <a:srgbClr val="FF00FF"/>
                  </a:solidFill>
                </a:rPr>
                <a:t>Schriftart Mark OT Medium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1BF41C0-0D9B-A2A7-C517-ECF578720FE7}"/>
              </a:ext>
            </a:extLst>
          </p:cNvPr>
          <p:cNvGrpSpPr/>
          <p:nvPr/>
        </p:nvGrpSpPr>
        <p:grpSpPr>
          <a:xfrm>
            <a:off x="6086998" y="3021052"/>
            <a:ext cx="5351195" cy="369332"/>
            <a:chOff x="5942966" y="2987660"/>
            <a:chExt cx="5351195" cy="369332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B01437C8-2661-402D-A768-39DF0AF39893}"/>
                </a:ext>
              </a:extLst>
            </p:cNvPr>
            <p:cNvSpPr/>
            <p:nvPr/>
          </p:nvSpPr>
          <p:spPr>
            <a:xfrm>
              <a:off x="5942966" y="2987660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412B77F8-17B1-4CE6-85DC-134524017F0C}"/>
                </a:ext>
              </a:extLst>
            </p:cNvPr>
            <p:cNvSpPr txBox="1"/>
            <p:nvPr/>
          </p:nvSpPr>
          <p:spPr>
            <a:xfrm>
              <a:off x="6234216" y="2987660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 dirty="0">
                  <a:solidFill>
                    <a:srgbClr val="FF00FF"/>
                  </a:solidFill>
                </a:rPr>
                <a:t>Titel immer in der Schriftgrößte 28 </a:t>
              </a:r>
              <a:r>
                <a:rPr lang="de-DE" sz="1200" dirty="0" err="1">
                  <a:solidFill>
                    <a:srgbClr val="FF00FF"/>
                  </a:solidFill>
                </a:rPr>
                <a:t>pt</a:t>
              </a:r>
              <a:r>
                <a:rPr lang="de-DE" sz="1200" dirty="0">
                  <a:solidFill>
                    <a:srgbClr val="FF00FF"/>
                  </a:solidFill>
                </a:rPr>
                <a:t>, Farbe: Schwarz, </a:t>
              </a:r>
              <a:br>
                <a:rPr lang="de-DE" sz="1200" dirty="0">
                  <a:solidFill>
                    <a:srgbClr val="FF00FF"/>
                  </a:solidFill>
                </a:rPr>
              </a:br>
              <a:r>
                <a:rPr lang="de-DE" sz="1200" dirty="0">
                  <a:solidFill>
                    <a:srgbClr val="FF00FF"/>
                  </a:solidFill>
                </a:rPr>
                <a:t>Schriftart Mark OT Medium</a:t>
              </a:r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0443E07-C2D9-E572-A0D2-B4654B2F07F7}"/>
              </a:ext>
            </a:extLst>
          </p:cNvPr>
          <p:cNvGrpSpPr/>
          <p:nvPr/>
        </p:nvGrpSpPr>
        <p:grpSpPr>
          <a:xfrm>
            <a:off x="6086998" y="4077156"/>
            <a:ext cx="5351195" cy="369332"/>
            <a:chOff x="5942966" y="4175792"/>
            <a:chExt cx="5351195" cy="369332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7D601F13-2B61-4DE4-986F-06AD83AA1ED1}"/>
                </a:ext>
              </a:extLst>
            </p:cNvPr>
            <p:cNvSpPr/>
            <p:nvPr/>
          </p:nvSpPr>
          <p:spPr>
            <a:xfrm>
              <a:off x="5942966" y="4175792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FC8A3EE3-861B-44AF-AA9C-35727936EB2A}"/>
                </a:ext>
              </a:extLst>
            </p:cNvPr>
            <p:cNvSpPr txBox="1"/>
            <p:nvPr/>
          </p:nvSpPr>
          <p:spPr>
            <a:xfrm>
              <a:off x="6234216" y="4175792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 dirty="0">
                  <a:solidFill>
                    <a:srgbClr val="FF00FF"/>
                  </a:solidFill>
                </a:rPr>
                <a:t>Inhaltstext Schriftgrößte 16 pt, Farbe: Schwarz,</a:t>
              </a:r>
              <a:br>
                <a:rPr lang="de-DE" sz="1200" dirty="0">
                  <a:solidFill>
                    <a:srgbClr val="FF00FF"/>
                  </a:solidFill>
                </a:rPr>
              </a:br>
              <a:r>
                <a:rPr lang="de-DE" sz="1200" dirty="0">
                  <a:solidFill>
                    <a:srgbClr val="FF00FF"/>
                  </a:solidFill>
                </a:rPr>
                <a:t>Schriftart EnBW DIN Pro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2D95AAE9-5C97-0E81-307E-E5A90500129E}"/>
              </a:ext>
            </a:extLst>
          </p:cNvPr>
          <p:cNvGrpSpPr/>
          <p:nvPr/>
        </p:nvGrpSpPr>
        <p:grpSpPr>
          <a:xfrm>
            <a:off x="6086998" y="4948594"/>
            <a:ext cx="5351195" cy="369332"/>
            <a:chOff x="5942966" y="5003884"/>
            <a:chExt cx="5351195" cy="369332"/>
          </a:xfrm>
        </p:grpSpPr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9118A87F-89F0-4611-8B9C-983442317E73}"/>
                </a:ext>
              </a:extLst>
            </p:cNvPr>
            <p:cNvSpPr/>
            <p:nvPr/>
          </p:nvSpPr>
          <p:spPr>
            <a:xfrm>
              <a:off x="5942966" y="5003884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C74E4C52-BDFC-4531-8895-46D623C93E19}"/>
                </a:ext>
              </a:extLst>
            </p:cNvPr>
            <p:cNvSpPr txBox="1"/>
            <p:nvPr/>
          </p:nvSpPr>
          <p:spPr>
            <a:xfrm>
              <a:off x="6234216" y="5003884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 dirty="0">
                  <a:solidFill>
                    <a:srgbClr val="FF00FF"/>
                  </a:solidFill>
                </a:rPr>
                <a:t>Quelle in der Schriftgrößte 10 pt, Farbe: Schwarz, </a:t>
              </a:r>
              <a:br>
                <a:rPr lang="de-DE" sz="1200" dirty="0">
                  <a:solidFill>
                    <a:srgbClr val="FF00FF"/>
                  </a:solidFill>
                </a:rPr>
              </a:br>
              <a:r>
                <a:rPr lang="de-DE" sz="1200" dirty="0">
                  <a:solidFill>
                    <a:srgbClr val="FF00FF"/>
                  </a:solidFill>
                </a:rPr>
                <a:t>Schriftart EnBW DIN Pro</a:t>
              </a: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3BD91FE-D8CB-68E4-4A62-E66C2B100B0C}"/>
              </a:ext>
            </a:extLst>
          </p:cNvPr>
          <p:cNvGrpSpPr/>
          <p:nvPr/>
        </p:nvGrpSpPr>
        <p:grpSpPr>
          <a:xfrm>
            <a:off x="6086998" y="5476648"/>
            <a:ext cx="5733654" cy="738664"/>
            <a:chOff x="5942966" y="5467252"/>
            <a:chExt cx="5733654" cy="738664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BDBED496-DC2A-48CC-834B-632A93113DE1}"/>
                </a:ext>
              </a:extLst>
            </p:cNvPr>
            <p:cNvSpPr/>
            <p:nvPr/>
          </p:nvSpPr>
          <p:spPr>
            <a:xfrm>
              <a:off x="5942966" y="5467252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7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7304CA6F-3AC4-4700-9B04-0BC3B326C36B}"/>
                </a:ext>
              </a:extLst>
            </p:cNvPr>
            <p:cNvSpPr txBox="1"/>
            <p:nvPr/>
          </p:nvSpPr>
          <p:spPr>
            <a:xfrm>
              <a:off x="6234216" y="5467252"/>
              <a:ext cx="5442404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 dirty="0">
                  <a:solidFill>
                    <a:srgbClr val="FF00FF"/>
                  </a:solidFill>
                </a:rPr>
                <a:t>Designelement zum Folienabschluss mit Datum und Seitenzahl, immer in</a:t>
              </a:r>
              <a:br>
                <a:rPr lang="de-DE" sz="1200" dirty="0">
                  <a:solidFill>
                    <a:srgbClr val="FF00FF"/>
                  </a:solidFill>
                </a:rPr>
              </a:br>
              <a:r>
                <a:rPr lang="de-DE" sz="1200" dirty="0">
                  <a:solidFill>
                    <a:srgbClr val="FF00FF"/>
                  </a:solidFill>
                </a:rPr>
                <a:t>der Schriftgrößte 10 pt, Farbe: Schwarz, Schriftart EnBW DIN Pro. Wie man</a:t>
              </a:r>
              <a:br>
                <a:rPr lang="de-DE" sz="1200" dirty="0">
                  <a:solidFill>
                    <a:srgbClr val="FF00FF"/>
                  </a:solidFill>
                </a:rPr>
              </a:br>
              <a:r>
                <a:rPr lang="de-DE" sz="1200" dirty="0">
                  <a:solidFill>
                    <a:srgbClr val="FF00FF"/>
                  </a:solidFill>
                </a:rPr>
                <a:t>die Fußzeile und Seitenzahl über den Master einfügt / aktualisiert, wird dir</a:t>
              </a:r>
              <a:br>
                <a:rPr lang="de-DE" sz="1200" dirty="0">
                  <a:solidFill>
                    <a:srgbClr val="FF00FF"/>
                  </a:solidFill>
                </a:rPr>
              </a:br>
              <a:r>
                <a:rPr lang="de-DE" sz="1200" dirty="0">
                  <a:solidFill>
                    <a:srgbClr val="FF00FF"/>
                  </a:solidFill>
                </a:rPr>
                <a:t>auf Seite 9 erklärt.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59680CD-5470-99D6-ED2D-B9EABB98973F}"/>
              </a:ext>
            </a:extLst>
          </p:cNvPr>
          <p:cNvGrpSpPr/>
          <p:nvPr/>
        </p:nvGrpSpPr>
        <p:grpSpPr>
          <a:xfrm>
            <a:off x="6086998" y="4605208"/>
            <a:ext cx="5351195" cy="184666"/>
            <a:chOff x="5942966" y="4684494"/>
            <a:chExt cx="5351195" cy="184666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CA021702-E259-4C24-AF50-E328957A5E87}"/>
                </a:ext>
              </a:extLst>
            </p:cNvPr>
            <p:cNvSpPr/>
            <p:nvPr/>
          </p:nvSpPr>
          <p:spPr>
            <a:xfrm>
              <a:off x="5942966" y="4684494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91B1C479-D435-4EC4-B7AB-E99BEFDF1D08}"/>
                </a:ext>
              </a:extLst>
            </p:cNvPr>
            <p:cNvSpPr txBox="1"/>
            <p:nvPr/>
          </p:nvSpPr>
          <p:spPr>
            <a:xfrm>
              <a:off x="6234216" y="4684494"/>
              <a:ext cx="505994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 dirty="0">
                  <a:solidFill>
                    <a:srgbClr val="FF00FF"/>
                  </a:solidFill>
                </a:rPr>
                <a:t>Abstand zwischen Bullet Point und Text 0,75 cm</a:t>
              </a:r>
            </a:p>
          </p:txBody>
        </p:sp>
      </p:grpSp>
      <p:sp>
        <p:nvSpPr>
          <p:cNvPr id="6" name="Rechteck 5">
            <a:extLst>
              <a:ext uri="{FF2B5EF4-FFF2-40B4-BE49-F238E27FC236}">
                <a16:creationId xmlns:a16="http://schemas.microsoft.com/office/drawing/2014/main" id="{701BF9D0-41FA-4069-B487-089AAD466500}"/>
              </a:ext>
            </a:extLst>
          </p:cNvPr>
          <p:cNvSpPr/>
          <p:nvPr/>
        </p:nvSpPr>
        <p:spPr>
          <a:xfrm>
            <a:off x="5952000" y="2349000"/>
            <a:ext cx="5832013" cy="3924800"/>
          </a:xfrm>
          <a:prstGeom prst="rect">
            <a:avLst/>
          </a:prstGeom>
          <a:noFill/>
          <a:ln w="12700">
            <a:solidFill>
              <a:srgbClr val="FF00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2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03BB44B-DEEE-0BD4-1A0B-0A222538D936}"/>
              </a:ext>
            </a:extLst>
          </p:cNvPr>
          <p:cNvGrpSpPr/>
          <p:nvPr/>
        </p:nvGrpSpPr>
        <p:grpSpPr>
          <a:xfrm>
            <a:off x="6086998" y="2493000"/>
            <a:ext cx="5351195" cy="369332"/>
            <a:chOff x="5942966" y="1534862"/>
            <a:chExt cx="5351195" cy="369332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EEB0D671-BC26-43A6-A556-065AB8F9CFBB}"/>
                </a:ext>
              </a:extLst>
            </p:cNvPr>
            <p:cNvSpPr/>
            <p:nvPr/>
          </p:nvSpPr>
          <p:spPr>
            <a:xfrm>
              <a:off x="5942966" y="1534862"/>
              <a:ext cx="180000" cy="180000"/>
            </a:xfrm>
            <a:prstGeom prst="ellipse">
              <a:avLst/>
            </a:prstGeom>
            <a:solidFill>
              <a:srgbClr val="FF00FF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7A542123-9BB7-48FD-8C56-5FF0222CEEEA}"/>
                </a:ext>
              </a:extLst>
            </p:cNvPr>
            <p:cNvSpPr txBox="1"/>
            <p:nvPr/>
          </p:nvSpPr>
          <p:spPr>
            <a:xfrm>
              <a:off x="6234216" y="1534862"/>
              <a:ext cx="505994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1800"/>
                </a:spcBef>
                <a:buClr>
                  <a:schemeClr val="tx1"/>
                </a:buClr>
                <a:buSzPct val="80000"/>
              </a:pPr>
              <a:r>
                <a:rPr lang="de-DE" sz="1200" dirty="0">
                  <a:solidFill>
                    <a:srgbClr val="FF00FF"/>
                  </a:solidFill>
                </a:rPr>
                <a:t>Standardposition des Logos auf jeder Folie in PowerPoint, </a:t>
              </a:r>
              <a:br>
                <a:rPr lang="de-DE" sz="1200" dirty="0">
                  <a:solidFill>
                    <a:srgbClr val="FF00FF"/>
                  </a:solidFill>
                </a:rPr>
              </a:br>
              <a:r>
                <a:rPr lang="de-DE" sz="1200" dirty="0">
                  <a:solidFill>
                    <a:srgbClr val="FF00FF"/>
                  </a:solidFill>
                </a:rPr>
                <a:t>ist im Master festgelegt.</a:t>
              </a:r>
            </a:p>
          </p:txBody>
        </p: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6C369F05-B96C-2D24-4FEF-9E55A309093B}"/>
              </a:ext>
            </a:extLst>
          </p:cNvPr>
          <p:cNvSpPr txBox="1"/>
          <p:nvPr/>
        </p:nvSpPr>
        <p:spPr bwMode="gray">
          <a:xfrm>
            <a:off x="407988" y="6273800"/>
            <a:ext cx="11376025" cy="179536"/>
          </a:xfrm>
          <a:prstGeom prst="rect">
            <a:avLst/>
          </a:prstGeom>
          <a:noFill/>
        </p:spPr>
        <p:txBody>
          <a:bodyPr wrap="square" lIns="0" tIns="3600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Quelle: 10 </a:t>
            </a:r>
            <a:r>
              <a:rPr lang="de-DE" sz="1000" spc="10" dirty="0" err="1">
                <a:cs typeface="EnBW DIN Pro"/>
              </a:rPr>
              <a:t>pt</a:t>
            </a:r>
            <a:r>
              <a:rPr lang="de-DE" sz="1000" spc="10" dirty="0">
                <a:cs typeface="EnBW DIN Pro"/>
              </a:rPr>
              <a:t> (in der Fußzeile können Quellen oder weitere Informationen untergebracht werden.)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171562C1-5F42-4455-90C4-D10B65379817}"/>
              </a:ext>
            </a:extLst>
          </p:cNvPr>
          <p:cNvSpPr/>
          <p:nvPr/>
        </p:nvSpPr>
        <p:spPr>
          <a:xfrm>
            <a:off x="10632504" y="6129000"/>
            <a:ext cx="180000" cy="180000"/>
          </a:xfrm>
          <a:prstGeom prst="ellipse">
            <a:avLst/>
          </a:prstGeom>
          <a:solidFill>
            <a:srgbClr val="FF00FF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863176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rafik 37">
            <a:extLst>
              <a:ext uri="{FF2B5EF4-FFF2-40B4-BE49-F238E27FC236}">
                <a16:creationId xmlns:a16="http://schemas.microsoft.com/office/drawing/2014/main" id="{4E0AB1CE-81B6-DBCB-CCA8-C658D1C307F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7987" y="1881187"/>
            <a:ext cx="11376025" cy="4392613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49805" y="1097395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7" imgH="379" progId="TCLayout.ActiveDocument.1">
                  <p:embed/>
                </p:oleObj>
              </mc:Choice>
              <mc:Fallback>
                <p:oleObj name="think-cell Folie" r:id="rId5" imgW="377" imgH="379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49805" y="1097395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1948365" y="1095955"/>
            <a:ext cx="144015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de-DE" sz="2722" b="1" dirty="0" err="1">
              <a:solidFill>
                <a:schemeClr val="tx1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Lineal und Raster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3F17A7-6B07-4404-825F-BED671EC59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468836-6505-459F-A841-BF2819D76564}" type="slidenum">
              <a:rPr lang="de-DE" smtClean="0"/>
              <a:t>5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4294967295"/>
          </p:nvPr>
        </p:nvSpPr>
        <p:spPr bwMode="gray">
          <a:xfrm>
            <a:off x="0" y="728663"/>
            <a:ext cx="11522075" cy="287337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C1BE835-6D11-465B-B2CE-A1E72C47CAFE}"/>
              </a:ext>
            </a:extLst>
          </p:cNvPr>
          <p:cNvGrpSpPr/>
          <p:nvPr/>
        </p:nvGrpSpPr>
        <p:grpSpPr>
          <a:xfrm>
            <a:off x="1200000" y="2997000"/>
            <a:ext cx="9647999" cy="3168000"/>
            <a:chOff x="1477557" y="2900580"/>
            <a:chExt cx="9081327" cy="2981929"/>
          </a:xfrm>
        </p:grpSpPr>
        <p:sp>
          <p:nvSpPr>
            <p:cNvPr id="3" name="Rechteck 2"/>
            <p:cNvSpPr/>
            <p:nvPr/>
          </p:nvSpPr>
          <p:spPr>
            <a:xfrm>
              <a:off x="1477557" y="2900580"/>
              <a:ext cx="2236446" cy="1084338"/>
            </a:xfrm>
            <a:prstGeom prst="rect">
              <a:avLst/>
            </a:prstGeom>
            <a:solidFill>
              <a:srgbClr val="00B0F0"/>
            </a:solidFill>
          </p:spPr>
          <p:txBody>
            <a:bodyPr lIns="108000" tIns="72000" rIns="108000" bIns="72000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Lineal</a:t>
              </a:r>
              <a:br>
                <a:rPr lang="de-DE" sz="1000" dirty="0">
                  <a:solidFill>
                    <a:schemeClr val="bg1"/>
                  </a:solidFill>
                  <a:latin typeface="+mj-lt"/>
                </a:rPr>
              </a:br>
              <a:r>
                <a:rPr lang="de-DE" sz="1000" dirty="0">
                  <a:solidFill>
                    <a:schemeClr val="bg1"/>
                  </a:solidFill>
                </a:rPr>
                <a:t>wichtig für spätere Bearbeitung</a:t>
              </a:r>
              <a:br>
                <a:rPr lang="de-DE" sz="1000" dirty="0">
                  <a:solidFill>
                    <a:schemeClr val="bg1"/>
                  </a:solidFill>
                </a:rPr>
              </a:br>
              <a:r>
                <a:rPr lang="de-DE" sz="1000" dirty="0">
                  <a:solidFill>
                    <a:schemeClr val="bg1"/>
                  </a:solidFill>
                </a:rPr>
                <a:t>von Texten mit Tabulatoren</a:t>
              </a:r>
            </a:p>
            <a:p>
              <a:pPr marL="0" lvl="2">
                <a:spcAft>
                  <a:spcPts val="600"/>
                </a:spcAft>
                <a:buClr>
                  <a:schemeClr val="bg1"/>
                </a:buClr>
              </a:pPr>
              <a:r>
                <a:rPr lang="de-DE" sz="1000" b="1" dirty="0">
                  <a:solidFill>
                    <a:schemeClr val="bg1"/>
                  </a:solidFill>
                </a:rPr>
                <a:t>Rechte Maustaste:</a:t>
              </a:r>
              <a:br>
                <a:rPr lang="de-DE" sz="1000" b="1" dirty="0">
                  <a:solidFill>
                    <a:schemeClr val="bg1"/>
                  </a:solidFill>
                </a:rPr>
              </a:br>
              <a:r>
                <a:rPr lang="de-DE" sz="1000" dirty="0">
                  <a:solidFill>
                    <a:schemeClr val="bg1"/>
                  </a:solidFill>
                </a:rPr>
                <a:t>Lineal anklicken</a:t>
              </a:r>
            </a:p>
          </p:txBody>
        </p:sp>
        <p:sp>
          <p:nvSpPr>
            <p:cNvPr id="31" name="Rechteck 30"/>
            <p:cNvSpPr/>
            <p:nvPr/>
          </p:nvSpPr>
          <p:spPr>
            <a:xfrm>
              <a:off x="8119124" y="5272569"/>
              <a:ext cx="2439760" cy="609940"/>
            </a:xfrm>
            <a:prstGeom prst="rect">
              <a:avLst/>
            </a:prstGeom>
            <a:solidFill>
              <a:srgbClr val="00B0F0"/>
            </a:solidFill>
          </p:spPr>
          <p:txBody>
            <a:bodyPr lIns="72000" tIns="36000" rIns="72000" bIns="36000" anchor="ctr" anchorCtr="0">
              <a:noAutofit/>
            </a:bodyPr>
            <a:lstStyle/>
            <a:p>
              <a:pPr>
                <a:spcAft>
                  <a:spcPts val="181"/>
                </a:spcAft>
              </a:pPr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Führungslinien</a:t>
              </a:r>
            </a:p>
            <a:p>
              <a:pPr marL="180000" lvl="2" indent="-180000">
                <a:spcAft>
                  <a:spcPts val="200"/>
                </a:spcAft>
                <a:buClr>
                  <a:schemeClr val="bg1"/>
                </a:buClr>
                <a:buFont typeface="Georgia" panose="02040502050405020303" pitchFamily="18" charset="0"/>
                <a:buChar char="●"/>
              </a:pPr>
              <a:r>
                <a:rPr lang="de-DE" sz="1000" dirty="0">
                  <a:solidFill>
                    <a:schemeClr val="bg1"/>
                  </a:solidFill>
                </a:rPr>
                <a:t>erleichtert das Arbeiten mit Objekten</a:t>
              </a:r>
            </a:p>
            <a:p>
              <a:pPr marL="180000" lvl="2" indent="-180000">
                <a:spcAft>
                  <a:spcPts val="200"/>
                </a:spcAft>
                <a:buClr>
                  <a:schemeClr val="bg1"/>
                </a:buClr>
                <a:buFont typeface="Georgia" panose="02040502050405020303" pitchFamily="18" charset="0"/>
                <a:buChar char="●"/>
              </a:pPr>
              <a:r>
                <a:rPr lang="de-DE" sz="1000" dirty="0">
                  <a:solidFill>
                    <a:schemeClr val="bg1"/>
                  </a:solidFill>
                </a:rPr>
                <a:t>sauberes Arbeiten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87DBE3F-DC28-4DE7-8A56-AA431462FCD1}"/>
              </a:ext>
            </a:extLst>
          </p:cNvPr>
          <p:cNvGrpSpPr/>
          <p:nvPr/>
        </p:nvGrpSpPr>
        <p:grpSpPr>
          <a:xfrm>
            <a:off x="3719736" y="3140969"/>
            <a:ext cx="3015376" cy="1743020"/>
            <a:chOff x="5807968" y="2245789"/>
            <a:chExt cx="2641661" cy="1526996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2CBB038-5FC7-4CE0-9114-7E21643B6B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7968" y="2245789"/>
              <a:ext cx="1152128" cy="1392762"/>
            </a:xfrm>
            <a:prstGeom prst="rect">
              <a:avLst/>
            </a:prstGeom>
            <a:noFill/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E6132FB6-6AE9-416A-9721-91C076CF0B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996100" y="2960948"/>
              <a:ext cx="1453529" cy="811837"/>
            </a:xfrm>
            <a:prstGeom prst="rect">
              <a:avLst/>
            </a:prstGeom>
            <a:noFill/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8" name="Rechteck 27">
            <a:extLst>
              <a:ext uri="{FF2B5EF4-FFF2-40B4-BE49-F238E27FC236}">
                <a16:creationId xmlns:a16="http://schemas.microsoft.com/office/drawing/2014/main" id="{948B055F-BD8D-4D47-8846-079752B80285}"/>
              </a:ext>
            </a:extLst>
          </p:cNvPr>
          <p:cNvSpPr/>
          <p:nvPr/>
        </p:nvSpPr>
        <p:spPr>
          <a:xfrm>
            <a:off x="3719736" y="4149080"/>
            <a:ext cx="685906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17" tIns="32659" rIns="65317" bIns="32659" rtlCol="0" anchor="ctr"/>
          <a:lstStyle/>
          <a:p>
            <a:pPr algn="ctr">
              <a:buClr>
                <a:schemeClr val="bg2"/>
              </a:buClr>
            </a:pPr>
            <a:endParaRPr lang="de-DE" sz="1452" dirty="0" err="1">
              <a:solidFill>
                <a:schemeClr val="tx1"/>
              </a:solidFill>
            </a:endParaRPr>
          </a:p>
        </p:txBody>
      </p:sp>
      <p:cxnSp>
        <p:nvCxnSpPr>
          <p:cNvPr id="19" name="Verbinder: gewinkelt 18">
            <a:extLst>
              <a:ext uri="{FF2B5EF4-FFF2-40B4-BE49-F238E27FC236}">
                <a16:creationId xmlns:a16="http://schemas.microsoft.com/office/drawing/2014/main" id="{09449AF9-E60A-41C7-958D-21306F306A06}"/>
              </a:ext>
            </a:extLst>
          </p:cNvPr>
          <p:cNvCxnSpPr>
            <a:cxnSpLocks/>
            <a:stCxn id="3" idx="2"/>
            <a:endCxn id="28" idx="1"/>
          </p:cNvCxnSpPr>
          <p:nvPr/>
        </p:nvCxnSpPr>
        <p:spPr>
          <a:xfrm rot="16200000" flipH="1">
            <a:off x="3008823" y="3528177"/>
            <a:ext cx="90090" cy="1331736"/>
          </a:xfrm>
          <a:prstGeom prst="bentConnector2">
            <a:avLst/>
          </a:prstGeom>
          <a:ln w="9525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4856A43D-7EE5-4CF9-A434-465C0FE9BC7B}"/>
              </a:ext>
            </a:extLst>
          </p:cNvPr>
          <p:cNvSpPr/>
          <p:nvPr/>
        </p:nvSpPr>
        <p:spPr>
          <a:xfrm>
            <a:off x="5087888" y="4329100"/>
            <a:ext cx="180020" cy="18002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17" tIns="32659" rIns="65317" bIns="32659" rtlCol="0" anchor="ctr"/>
          <a:lstStyle/>
          <a:p>
            <a:pPr algn="ctr">
              <a:buClr>
                <a:schemeClr val="bg2"/>
              </a:buClr>
            </a:pPr>
            <a:endParaRPr lang="de-DE" sz="1452" dirty="0" err="1">
              <a:solidFill>
                <a:schemeClr val="tx1"/>
              </a:solidFill>
            </a:endParaRPr>
          </a:p>
        </p:txBody>
      </p:sp>
      <p:cxnSp>
        <p:nvCxnSpPr>
          <p:cNvPr id="22" name="Verbinder: gewinkelt 21">
            <a:extLst>
              <a:ext uri="{FF2B5EF4-FFF2-40B4-BE49-F238E27FC236}">
                <a16:creationId xmlns:a16="http://schemas.microsoft.com/office/drawing/2014/main" id="{AC3A00F8-37AC-446F-B602-94D1E26B18D5}"/>
              </a:ext>
            </a:extLst>
          </p:cNvPr>
          <p:cNvCxnSpPr>
            <a:cxnSpLocks/>
            <a:stCxn id="31" idx="1"/>
            <a:endCxn id="32" idx="2"/>
          </p:cNvCxnSpPr>
          <p:nvPr/>
        </p:nvCxnSpPr>
        <p:spPr>
          <a:xfrm rot="10800000">
            <a:off x="5177898" y="4509120"/>
            <a:ext cx="3078102" cy="1331880"/>
          </a:xfrm>
          <a:prstGeom prst="bentConnector2">
            <a:avLst/>
          </a:prstGeom>
          <a:ln w="9525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28552219-B9A9-0001-4955-801DC54EA6A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6000" y="3069000"/>
            <a:ext cx="3667125" cy="2314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61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49805" y="1097395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7" imgH="379" progId="TCLayout.ActiveDocument.1">
                  <p:embed/>
                </p:oleObj>
              </mc:Choice>
              <mc:Fallback>
                <p:oleObj name="think-cell Folie" r:id="rId4" imgW="377" imgH="379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49805" y="1097395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1948365" y="1095955"/>
            <a:ext cx="144015" cy="1440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de-DE" sz="2722" b="1" dirty="0" err="1">
              <a:solidFill>
                <a:schemeClr val="tx1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10" name="Rechteck 9"/>
          <p:cNvSpPr/>
          <p:nvPr/>
        </p:nvSpPr>
        <p:spPr bwMode="gray">
          <a:xfrm>
            <a:off x="407988" y="1881188"/>
            <a:ext cx="11376025" cy="4392611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7" tIns="32659" rIns="65317" bIns="326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buClr>
                <a:schemeClr val="bg2"/>
              </a:buClr>
            </a:pPr>
            <a:endParaRPr lang="de-DE" sz="1452" dirty="0">
              <a:solidFill>
                <a:schemeClr val="accent2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youts und Führungslinien</a:t>
            </a:r>
          </a:p>
        </p:txBody>
      </p:sp>
      <p:sp>
        <p:nvSpPr>
          <p:cNvPr id="34" name="Fußzeilenplatzhalter 33">
            <a:extLst>
              <a:ext uri="{FF2B5EF4-FFF2-40B4-BE49-F238E27FC236}">
                <a16:creationId xmlns:a16="http://schemas.microsoft.com/office/drawing/2014/main" id="{5C367BA6-25A9-4300-9B25-5F62B9275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35" name="Foliennummernplatzhalter 34">
            <a:extLst>
              <a:ext uri="{FF2B5EF4-FFF2-40B4-BE49-F238E27FC236}">
                <a16:creationId xmlns:a16="http://schemas.microsoft.com/office/drawing/2014/main" id="{9CF67823-D1F3-4288-858E-F607043A9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FCF6D-0389-4320-9D89-9A0C90B37087}" type="slidenum">
              <a:rPr lang="de-DE" smtClean="0"/>
              <a:pPr/>
              <a:t>6</a:t>
            </a:fld>
            <a:endParaRPr lang="de-DE"/>
          </a:p>
        </p:txBody>
      </p:sp>
      <p:cxnSp>
        <p:nvCxnSpPr>
          <p:cNvPr id="12" name="Gerade Verbindung 11"/>
          <p:cNvCxnSpPr>
            <a:cxnSpLocks/>
          </p:cNvCxnSpPr>
          <p:nvPr/>
        </p:nvCxnSpPr>
        <p:spPr bwMode="gray">
          <a:xfrm>
            <a:off x="407368" y="-8620"/>
            <a:ext cx="0" cy="6858000"/>
          </a:xfrm>
          <a:prstGeom prst="line">
            <a:avLst/>
          </a:prstGeom>
          <a:ln w="9525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>
            <a:cxnSpLocks/>
          </p:cNvCxnSpPr>
          <p:nvPr/>
        </p:nvCxnSpPr>
        <p:spPr bwMode="gray">
          <a:xfrm>
            <a:off x="10524492" y="-8620"/>
            <a:ext cx="0" cy="6858000"/>
          </a:xfrm>
          <a:prstGeom prst="line">
            <a:avLst/>
          </a:prstGeom>
          <a:ln w="9525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>
            <a:off x="6096000" y="1"/>
            <a:ext cx="0" cy="6858000"/>
          </a:xfrm>
          <a:prstGeom prst="line">
            <a:avLst/>
          </a:prstGeom>
          <a:ln w="9525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>
            <a:cxnSpLocks/>
          </p:cNvCxnSpPr>
          <p:nvPr/>
        </p:nvCxnSpPr>
        <p:spPr bwMode="gray">
          <a:xfrm>
            <a:off x="6096000" y="-8620"/>
            <a:ext cx="0" cy="6858000"/>
          </a:xfrm>
          <a:prstGeom prst="line">
            <a:avLst/>
          </a:prstGeom>
          <a:ln w="9525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>
            <a:cxnSpLocks/>
          </p:cNvCxnSpPr>
          <p:nvPr/>
        </p:nvCxnSpPr>
        <p:spPr bwMode="gray">
          <a:xfrm>
            <a:off x="0" y="1880828"/>
            <a:ext cx="12192000" cy="0"/>
          </a:xfrm>
          <a:prstGeom prst="line">
            <a:avLst/>
          </a:prstGeom>
          <a:ln w="9525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>
            <a:cxnSpLocks/>
          </p:cNvCxnSpPr>
          <p:nvPr/>
        </p:nvCxnSpPr>
        <p:spPr bwMode="gray">
          <a:xfrm>
            <a:off x="0" y="6273316"/>
            <a:ext cx="12192000" cy="0"/>
          </a:xfrm>
          <a:prstGeom prst="line">
            <a:avLst/>
          </a:prstGeom>
          <a:ln w="9525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13">
            <a:extLst>
              <a:ext uri="{FF2B5EF4-FFF2-40B4-BE49-F238E27FC236}">
                <a16:creationId xmlns:a16="http://schemas.microsoft.com/office/drawing/2014/main" id="{9AEC5562-7992-4793-B7C2-89C70DED6515}"/>
              </a:ext>
            </a:extLst>
          </p:cNvPr>
          <p:cNvCxnSpPr>
            <a:cxnSpLocks/>
          </p:cNvCxnSpPr>
          <p:nvPr/>
        </p:nvCxnSpPr>
        <p:spPr bwMode="gray">
          <a:xfrm>
            <a:off x="6384032" y="-8620"/>
            <a:ext cx="0" cy="6858000"/>
          </a:xfrm>
          <a:prstGeom prst="line">
            <a:avLst/>
          </a:prstGeom>
          <a:ln w="9525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13">
            <a:extLst>
              <a:ext uri="{FF2B5EF4-FFF2-40B4-BE49-F238E27FC236}">
                <a16:creationId xmlns:a16="http://schemas.microsoft.com/office/drawing/2014/main" id="{E1383EEB-269D-45D8-ABC0-0FF2574650A2}"/>
              </a:ext>
            </a:extLst>
          </p:cNvPr>
          <p:cNvCxnSpPr>
            <a:cxnSpLocks/>
          </p:cNvCxnSpPr>
          <p:nvPr/>
        </p:nvCxnSpPr>
        <p:spPr bwMode="gray">
          <a:xfrm>
            <a:off x="11784632" y="-8620"/>
            <a:ext cx="0" cy="6858000"/>
          </a:xfrm>
          <a:prstGeom prst="line">
            <a:avLst/>
          </a:prstGeom>
          <a:ln w="9525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13">
            <a:extLst>
              <a:ext uri="{FF2B5EF4-FFF2-40B4-BE49-F238E27FC236}">
                <a16:creationId xmlns:a16="http://schemas.microsoft.com/office/drawing/2014/main" id="{4FC5D0DC-4464-40E9-B9F2-F3A718A4A405}"/>
              </a:ext>
            </a:extLst>
          </p:cNvPr>
          <p:cNvCxnSpPr>
            <a:cxnSpLocks/>
          </p:cNvCxnSpPr>
          <p:nvPr/>
        </p:nvCxnSpPr>
        <p:spPr bwMode="gray">
          <a:xfrm>
            <a:off x="5807968" y="-8620"/>
            <a:ext cx="0" cy="6858000"/>
          </a:xfrm>
          <a:prstGeom prst="line">
            <a:avLst/>
          </a:prstGeom>
          <a:ln w="9525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17">
            <a:extLst>
              <a:ext uri="{FF2B5EF4-FFF2-40B4-BE49-F238E27FC236}">
                <a16:creationId xmlns:a16="http://schemas.microsoft.com/office/drawing/2014/main" id="{FEFE4549-A115-4513-885B-002AC773C66A}"/>
              </a:ext>
            </a:extLst>
          </p:cNvPr>
          <p:cNvCxnSpPr>
            <a:cxnSpLocks/>
          </p:cNvCxnSpPr>
          <p:nvPr/>
        </p:nvCxnSpPr>
        <p:spPr bwMode="gray">
          <a:xfrm>
            <a:off x="0" y="1844824"/>
            <a:ext cx="12192000" cy="0"/>
          </a:xfrm>
          <a:prstGeom prst="line">
            <a:avLst/>
          </a:prstGeom>
          <a:ln w="9525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1982F86C-B55D-E29B-0BDC-FD0C1661D572}"/>
              </a:ext>
            </a:extLst>
          </p:cNvPr>
          <p:cNvSpPr txBox="1">
            <a:spLocks/>
          </p:cNvSpPr>
          <p:nvPr/>
        </p:nvSpPr>
        <p:spPr bwMode="gray">
          <a:xfrm>
            <a:off x="9804412" y="5774429"/>
            <a:ext cx="1831198" cy="349702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 err="1">
                <a:solidFill>
                  <a:schemeClr val="accent1">
                    <a:lumMod val="90000"/>
                  </a:schemeClr>
                </a:solidFill>
              </a:rPr>
              <a:t>Contentbereich</a:t>
            </a:r>
            <a:endParaRPr lang="de-DE" dirty="0">
              <a:solidFill>
                <a:schemeClr val="accent1">
                  <a:lumMod val="90000"/>
                </a:schemeClr>
              </a:solidFill>
            </a:endParaRPr>
          </a:p>
        </p:txBody>
      </p:sp>
      <p:cxnSp>
        <p:nvCxnSpPr>
          <p:cNvPr id="38" name="Gerade Verbindung 17">
            <a:extLst>
              <a:ext uri="{FF2B5EF4-FFF2-40B4-BE49-F238E27FC236}">
                <a16:creationId xmlns:a16="http://schemas.microsoft.com/office/drawing/2014/main" id="{024AE0C3-D76E-45F4-7EBC-E0DF58EF3ABB}"/>
              </a:ext>
            </a:extLst>
          </p:cNvPr>
          <p:cNvCxnSpPr>
            <a:cxnSpLocks/>
          </p:cNvCxnSpPr>
          <p:nvPr/>
        </p:nvCxnSpPr>
        <p:spPr bwMode="gray">
          <a:xfrm>
            <a:off x="0" y="368300"/>
            <a:ext cx="12192000" cy="0"/>
          </a:xfrm>
          <a:prstGeom prst="line">
            <a:avLst/>
          </a:prstGeom>
          <a:ln w="9525">
            <a:solidFill>
              <a:srgbClr val="00B0F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fik 38">
            <a:extLst>
              <a:ext uri="{FF2B5EF4-FFF2-40B4-BE49-F238E27FC236}">
                <a16:creationId xmlns:a16="http://schemas.microsoft.com/office/drawing/2014/main" id="{94882308-B0AE-F28C-B97F-5A80BC7EEBA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1384" y="2024844"/>
            <a:ext cx="6128693" cy="4104456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37A7E33A-BC72-B539-86D0-A392C13FCC5C}"/>
              </a:ext>
            </a:extLst>
          </p:cNvPr>
          <p:cNvSpPr/>
          <p:nvPr/>
        </p:nvSpPr>
        <p:spPr>
          <a:xfrm>
            <a:off x="8384339" y="1641866"/>
            <a:ext cx="2032141" cy="153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000" dirty="0">
                <a:solidFill>
                  <a:srgbClr val="FFC000"/>
                </a:solidFill>
              </a:rPr>
              <a:t>Führungslinie für Textplatzhalter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84F8AE67-2A84-3076-2654-2DFDC7A04A00}"/>
              </a:ext>
            </a:extLst>
          </p:cNvPr>
          <p:cNvSpPr/>
          <p:nvPr/>
        </p:nvSpPr>
        <p:spPr>
          <a:xfrm>
            <a:off x="8900507" y="1929898"/>
            <a:ext cx="1515973" cy="153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0" rIns="72000" bIns="0" rtlCol="0" anchor="ctr">
            <a:spAutoFit/>
          </a:bodyPr>
          <a:lstStyle/>
          <a:p>
            <a:pPr algn="r"/>
            <a:r>
              <a:rPr lang="de-DE" sz="1000" dirty="0">
                <a:solidFill>
                  <a:schemeClr val="accent4"/>
                </a:solidFill>
              </a:rPr>
              <a:t>Führungslinie für Bilder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50A2EAE-84E2-A308-8F27-4F3C20A95368}"/>
              </a:ext>
            </a:extLst>
          </p:cNvPr>
          <p:cNvSpPr txBox="1"/>
          <p:nvPr/>
        </p:nvSpPr>
        <p:spPr>
          <a:xfrm>
            <a:off x="6805251" y="2058156"/>
            <a:ext cx="1810749" cy="1586844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r>
              <a:rPr lang="de-DE" b="1" dirty="0">
                <a:latin typeface="+mn-lt"/>
              </a:rPr>
              <a:t>Bitte nutze nur</a:t>
            </a:r>
            <a:br>
              <a:rPr lang="de-DE" b="1" dirty="0">
                <a:latin typeface="+mn-lt"/>
              </a:rPr>
            </a:br>
            <a:r>
              <a:rPr lang="de-DE" b="1" dirty="0">
                <a:latin typeface="+mn-lt"/>
              </a:rPr>
              <a:t>die angelegten Layouts</a:t>
            </a:r>
            <a:br>
              <a:rPr lang="de-DE" b="1" dirty="0">
                <a:latin typeface="+mn-lt"/>
              </a:rPr>
            </a:br>
            <a:r>
              <a:rPr lang="de-DE" b="1" dirty="0">
                <a:latin typeface="+mn-lt"/>
              </a:rPr>
              <a:t>aus dem Master!</a:t>
            </a:r>
          </a:p>
          <a:p>
            <a:pPr marL="0" lvl="2" indent="0">
              <a:buNone/>
            </a:pPr>
            <a:r>
              <a:rPr lang="de-DE" dirty="0"/>
              <a:t>Wenn du merkst, dass</a:t>
            </a:r>
            <a:br>
              <a:rPr lang="de-DE" dirty="0"/>
            </a:br>
            <a:r>
              <a:rPr lang="de-DE" dirty="0"/>
              <a:t>sich die Folien verzogen</a:t>
            </a:r>
            <a:br>
              <a:rPr lang="de-DE" dirty="0"/>
            </a:br>
            <a:r>
              <a:rPr lang="de-DE" dirty="0"/>
              <a:t>hat oder Platzhalter verrutscht sind, klicke</a:t>
            </a:r>
            <a:br>
              <a:rPr lang="de-DE" dirty="0"/>
            </a:br>
            <a:r>
              <a:rPr lang="de-DE" dirty="0"/>
              <a:t>„Folie zurücksetzen“</a:t>
            </a:r>
            <a:br>
              <a:rPr lang="de-DE" dirty="0"/>
            </a:br>
            <a:r>
              <a:rPr lang="de-DE" dirty="0"/>
              <a:t>(rechte Maustaste).</a:t>
            </a:r>
          </a:p>
        </p:txBody>
      </p:sp>
    </p:spTree>
    <p:extLst>
      <p:ext uri="{BB962C8B-B14F-4D97-AF65-F5344CB8AC3E}">
        <p14:creationId xmlns:p14="http://schemas.microsoft.com/office/powerpoint/2010/main" val="2963739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5E40937F-4819-CA5B-A74F-C86D1E67FEC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7988" y="1879648"/>
            <a:ext cx="11376024" cy="4394152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7" imgH="379" progId="TCLayout.ActiveDocument.1">
                  <p:embed/>
                </p:oleObj>
              </mc:Choice>
              <mc:Fallback>
                <p:oleObj name="think-cell Folie" r:id="rId5" imgW="377" imgH="379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de-DE" sz="2722" b="1" dirty="0" err="1">
              <a:solidFill>
                <a:schemeClr val="tx1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ulatoren und </a:t>
            </a:r>
            <a:r>
              <a:rPr lang="de-DE" dirty="0" err="1"/>
              <a:t>Ebenensprünge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8213C55-7588-401F-84AC-B533DE2EC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F8A0505-B4A2-41C4-AFE2-0463EEF3A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FCF6D-0389-4320-9D89-9A0C90B37087}" type="slidenum">
              <a:rPr lang="de-DE" smtClean="0"/>
              <a:t>7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4294967295"/>
          </p:nvPr>
        </p:nvSpPr>
        <p:spPr>
          <a:xfrm>
            <a:off x="0" y="728663"/>
            <a:ext cx="11522075" cy="287337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016731A7-47F3-06C5-9F99-FCCEADB53B87}"/>
              </a:ext>
            </a:extLst>
          </p:cNvPr>
          <p:cNvGrpSpPr/>
          <p:nvPr/>
        </p:nvGrpSpPr>
        <p:grpSpPr>
          <a:xfrm>
            <a:off x="1202638" y="2204999"/>
            <a:ext cx="287902" cy="3024001"/>
            <a:chOff x="1202638" y="1763229"/>
            <a:chExt cx="287902" cy="2645636"/>
          </a:xfrm>
        </p:grpSpPr>
        <p:cxnSp>
          <p:nvCxnSpPr>
            <p:cNvPr id="35" name="Gerade Verbindung 34"/>
            <p:cNvCxnSpPr/>
            <p:nvPr/>
          </p:nvCxnSpPr>
          <p:spPr>
            <a:xfrm>
              <a:off x="1202638" y="1763229"/>
              <a:ext cx="0" cy="2645636"/>
            </a:xfrm>
            <a:prstGeom prst="line">
              <a:avLst/>
            </a:prstGeom>
            <a:ln w="12700">
              <a:solidFill>
                <a:srgbClr val="00B0F0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>
            <a:xfrm>
              <a:off x="1490540" y="1763229"/>
              <a:ext cx="0" cy="2645636"/>
            </a:xfrm>
            <a:prstGeom prst="line">
              <a:avLst/>
            </a:prstGeom>
            <a:ln w="12700">
              <a:solidFill>
                <a:srgbClr val="00B0F0"/>
              </a:solidFill>
              <a:prstDash val="solid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Inhaltsplatzhalter 16"/>
          <p:cNvSpPr txBox="1">
            <a:spLocks/>
          </p:cNvSpPr>
          <p:nvPr/>
        </p:nvSpPr>
        <p:spPr>
          <a:xfrm>
            <a:off x="8609785" y="264201"/>
            <a:ext cx="2344935" cy="1508615"/>
          </a:xfrm>
          <a:prstGeom prst="rect">
            <a:avLst/>
          </a:prstGeom>
          <a:solidFill>
            <a:srgbClr val="00B0F0"/>
          </a:solidFill>
          <a:ln w="28575">
            <a:noFill/>
          </a:ln>
          <a:effectLst/>
        </p:spPr>
        <p:txBody>
          <a:bodyPr lIns="108000" tIns="72000" rIns="108000" bIns="72000"/>
          <a:lstStyle>
            <a:defPPr>
              <a:defRPr lang="de-DE"/>
            </a:defPPr>
            <a:lvl1pPr indent="0">
              <a:spcBef>
                <a:spcPts val="1200"/>
              </a:spcBef>
              <a:buFont typeface="Arial" pitchFamily="34" charset="0"/>
              <a:buNone/>
              <a:defRPr sz="1200" b="1">
                <a:solidFill>
                  <a:schemeClr val="bg1"/>
                </a:solidFill>
                <a:ea typeface="Adobe Gothic Std B" pitchFamily="34" charset="-128"/>
              </a:defRPr>
            </a:lvl1pPr>
            <a:lvl2pPr marL="176213" indent="-176213">
              <a:spcBef>
                <a:spcPts val="600"/>
              </a:spcBef>
              <a:buClr>
                <a:schemeClr val="accent3"/>
              </a:buClr>
              <a:buFont typeface="Arial" pitchFamily="34" charset="0"/>
              <a:buChar char="•"/>
              <a:defRPr>
                <a:latin typeface="Futura Lt BT" pitchFamily="34" charset="0"/>
                <a:ea typeface="Adobe Gothic Std B" pitchFamily="34" charset="-128"/>
              </a:defRPr>
            </a:lvl2pPr>
            <a:lvl3pPr marL="360363" indent="-184150"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>
                <a:latin typeface="Futura Lt BT" pitchFamily="34" charset="0"/>
                <a:ea typeface="Adobe Gothic Std B" pitchFamily="34" charset="-128"/>
              </a:defRPr>
            </a:lvl3pPr>
            <a:lvl4pPr marL="536575" indent="-176213"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>
                <a:latin typeface="Futura Lt BT" pitchFamily="34" charset="0"/>
                <a:ea typeface="Adobe Gothic Std B" pitchFamily="34" charset="-128"/>
              </a:defRPr>
            </a:lvl4pPr>
            <a:lvl5pPr marL="720725" indent="-184150"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>
                <a:latin typeface="Futura Lt BT" pitchFamily="34" charset="0"/>
                <a:ea typeface="Adobe Gothic Std B" pitchFamily="34" charset="-128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de-DE" sz="1000" dirty="0">
                <a:ea typeface="+mn-ea"/>
              </a:rPr>
              <a:t>Wichtig:</a:t>
            </a:r>
            <a:br>
              <a:rPr lang="de-DE" sz="1000" dirty="0"/>
            </a:br>
            <a:r>
              <a:rPr lang="de-DE" sz="1000" dirty="0"/>
              <a:t>Schalte das Lineal ein!</a:t>
            </a:r>
          </a:p>
          <a:p>
            <a:r>
              <a:rPr lang="de-DE" sz="1000" b="0" dirty="0"/>
              <a:t>Einzüge und Tabstopps helfen beim</a:t>
            </a:r>
            <a:br>
              <a:rPr lang="de-DE" sz="1000" b="0" dirty="0"/>
            </a:br>
            <a:r>
              <a:rPr lang="de-DE" sz="1000" b="0" dirty="0"/>
              <a:t>Ausrichten von Texten auf einer Folie</a:t>
            </a:r>
          </a:p>
        </p:txBody>
      </p:sp>
      <p:grpSp>
        <p:nvGrpSpPr>
          <p:cNvPr id="42" name="Gruppieren 41"/>
          <p:cNvGrpSpPr/>
          <p:nvPr/>
        </p:nvGrpSpPr>
        <p:grpSpPr>
          <a:xfrm>
            <a:off x="8724517" y="1144635"/>
            <a:ext cx="195951" cy="195951"/>
            <a:chOff x="403084" y="2791366"/>
            <a:chExt cx="576064" cy="576064"/>
          </a:xfrm>
        </p:grpSpPr>
        <p:sp>
          <p:nvSpPr>
            <p:cNvPr id="57" name="Rechteck 56"/>
            <p:cNvSpPr/>
            <p:nvPr/>
          </p:nvSpPr>
          <p:spPr>
            <a:xfrm>
              <a:off x="403084" y="2791366"/>
              <a:ext cx="576064" cy="57606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6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952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33"/>
            </a:p>
          </p:txBody>
        </p:sp>
        <p:sp>
          <p:nvSpPr>
            <p:cNvPr id="58" name="Rechteck 18"/>
            <p:cNvSpPr/>
            <p:nvPr/>
          </p:nvSpPr>
          <p:spPr>
            <a:xfrm>
              <a:off x="547100" y="2935382"/>
              <a:ext cx="288032" cy="288032"/>
            </a:xfrm>
            <a:custGeom>
              <a:avLst/>
              <a:gdLst>
                <a:gd name="connsiteX0" fmla="*/ 0 w 504056"/>
                <a:gd name="connsiteY0" fmla="*/ 0 h 504056"/>
                <a:gd name="connsiteX1" fmla="*/ 504056 w 504056"/>
                <a:gd name="connsiteY1" fmla="*/ 0 h 504056"/>
                <a:gd name="connsiteX2" fmla="*/ 504056 w 504056"/>
                <a:gd name="connsiteY2" fmla="*/ 504056 h 504056"/>
                <a:gd name="connsiteX3" fmla="*/ 0 w 504056"/>
                <a:gd name="connsiteY3" fmla="*/ 504056 h 504056"/>
                <a:gd name="connsiteX4" fmla="*/ 0 w 504056"/>
                <a:gd name="connsiteY4" fmla="*/ 0 h 504056"/>
                <a:gd name="connsiteX0" fmla="*/ 504056 w 595496"/>
                <a:gd name="connsiteY0" fmla="*/ 0 h 504056"/>
                <a:gd name="connsiteX1" fmla="*/ 504056 w 595496"/>
                <a:gd name="connsiteY1" fmla="*/ 504056 h 504056"/>
                <a:gd name="connsiteX2" fmla="*/ 0 w 595496"/>
                <a:gd name="connsiteY2" fmla="*/ 504056 h 504056"/>
                <a:gd name="connsiteX3" fmla="*/ 0 w 595496"/>
                <a:gd name="connsiteY3" fmla="*/ 0 h 504056"/>
                <a:gd name="connsiteX4" fmla="*/ 595496 w 595496"/>
                <a:gd name="connsiteY4" fmla="*/ 91440 h 504056"/>
                <a:gd name="connsiteX0" fmla="*/ 504056 w 504056"/>
                <a:gd name="connsiteY0" fmla="*/ 0 h 504056"/>
                <a:gd name="connsiteX1" fmla="*/ 504056 w 504056"/>
                <a:gd name="connsiteY1" fmla="*/ 504056 h 504056"/>
                <a:gd name="connsiteX2" fmla="*/ 0 w 504056"/>
                <a:gd name="connsiteY2" fmla="*/ 504056 h 504056"/>
                <a:gd name="connsiteX3" fmla="*/ 0 w 504056"/>
                <a:gd name="connsiteY3" fmla="*/ 0 h 50405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0 w 504056"/>
                <a:gd name="connsiteY2" fmla="*/ 0 h 50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504056">
                  <a:moveTo>
                    <a:pt x="504056" y="504056"/>
                  </a:moveTo>
                  <a:lnTo>
                    <a:pt x="0" y="504056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33"/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8724292" y="1471234"/>
            <a:ext cx="195951" cy="195951"/>
            <a:chOff x="2123728" y="2888940"/>
            <a:chExt cx="576064" cy="576064"/>
          </a:xfrm>
        </p:grpSpPr>
        <p:sp>
          <p:nvSpPr>
            <p:cNvPr id="54" name="Rechteck 53"/>
            <p:cNvSpPr/>
            <p:nvPr/>
          </p:nvSpPr>
          <p:spPr>
            <a:xfrm>
              <a:off x="2123728" y="2888940"/>
              <a:ext cx="576064" cy="57606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6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952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33"/>
            </a:p>
          </p:txBody>
        </p:sp>
        <p:cxnSp>
          <p:nvCxnSpPr>
            <p:cNvPr id="55" name="Gerade Verbindung 54"/>
            <p:cNvCxnSpPr/>
            <p:nvPr/>
          </p:nvCxnSpPr>
          <p:spPr>
            <a:xfrm>
              <a:off x="2219739" y="3320988"/>
              <a:ext cx="38404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Gerade Verbindung 55"/>
            <p:cNvCxnSpPr/>
            <p:nvPr/>
          </p:nvCxnSpPr>
          <p:spPr>
            <a:xfrm>
              <a:off x="2411760" y="3032956"/>
              <a:ext cx="0" cy="288032"/>
            </a:xfrm>
            <a:prstGeom prst="lin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44" name="Rechteck 43"/>
          <p:cNvSpPr/>
          <p:nvPr/>
        </p:nvSpPr>
        <p:spPr>
          <a:xfrm>
            <a:off x="8986040" y="1129243"/>
            <a:ext cx="522820" cy="244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de-DE" sz="907" dirty="0">
                <a:solidFill>
                  <a:schemeClr val="bg1"/>
                </a:solidFill>
              </a:rPr>
              <a:t>Ausrichtung</a:t>
            </a:r>
          </a:p>
          <a:p>
            <a:r>
              <a:rPr lang="de-DE" sz="907" dirty="0">
                <a:solidFill>
                  <a:schemeClr val="bg1"/>
                </a:solidFill>
              </a:rPr>
              <a:t>links</a:t>
            </a:r>
          </a:p>
        </p:txBody>
      </p:sp>
      <p:grpSp>
        <p:nvGrpSpPr>
          <p:cNvPr id="45" name="Gruppieren 44"/>
          <p:cNvGrpSpPr/>
          <p:nvPr/>
        </p:nvGrpSpPr>
        <p:grpSpPr>
          <a:xfrm>
            <a:off x="9671945" y="1144635"/>
            <a:ext cx="195951" cy="195951"/>
            <a:chOff x="1259632" y="2791366"/>
            <a:chExt cx="576064" cy="576064"/>
          </a:xfrm>
        </p:grpSpPr>
        <p:sp>
          <p:nvSpPr>
            <p:cNvPr id="52" name="Rechteck 51"/>
            <p:cNvSpPr/>
            <p:nvPr/>
          </p:nvSpPr>
          <p:spPr>
            <a:xfrm>
              <a:off x="1259632" y="2791366"/>
              <a:ext cx="576064" cy="576064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bg1">
                  <a:lumMod val="6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95250" h="190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33"/>
            </a:p>
          </p:txBody>
        </p:sp>
        <p:sp>
          <p:nvSpPr>
            <p:cNvPr id="53" name="Rechteck 18"/>
            <p:cNvSpPr/>
            <p:nvPr/>
          </p:nvSpPr>
          <p:spPr>
            <a:xfrm flipH="1">
              <a:off x="1403648" y="2935382"/>
              <a:ext cx="288032" cy="288032"/>
            </a:xfrm>
            <a:custGeom>
              <a:avLst/>
              <a:gdLst>
                <a:gd name="connsiteX0" fmla="*/ 0 w 504056"/>
                <a:gd name="connsiteY0" fmla="*/ 0 h 504056"/>
                <a:gd name="connsiteX1" fmla="*/ 504056 w 504056"/>
                <a:gd name="connsiteY1" fmla="*/ 0 h 504056"/>
                <a:gd name="connsiteX2" fmla="*/ 504056 w 504056"/>
                <a:gd name="connsiteY2" fmla="*/ 504056 h 504056"/>
                <a:gd name="connsiteX3" fmla="*/ 0 w 504056"/>
                <a:gd name="connsiteY3" fmla="*/ 504056 h 504056"/>
                <a:gd name="connsiteX4" fmla="*/ 0 w 504056"/>
                <a:gd name="connsiteY4" fmla="*/ 0 h 504056"/>
                <a:gd name="connsiteX0" fmla="*/ 504056 w 595496"/>
                <a:gd name="connsiteY0" fmla="*/ 0 h 504056"/>
                <a:gd name="connsiteX1" fmla="*/ 504056 w 595496"/>
                <a:gd name="connsiteY1" fmla="*/ 504056 h 504056"/>
                <a:gd name="connsiteX2" fmla="*/ 0 w 595496"/>
                <a:gd name="connsiteY2" fmla="*/ 504056 h 504056"/>
                <a:gd name="connsiteX3" fmla="*/ 0 w 595496"/>
                <a:gd name="connsiteY3" fmla="*/ 0 h 504056"/>
                <a:gd name="connsiteX4" fmla="*/ 595496 w 595496"/>
                <a:gd name="connsiteY4" fmla="*/ 91440 h 504056"/>
                <a:gd name="connsiteX0" fmla="*/ 504056 w 504056"/>
                <a:gd name="connsiteY0" fmla="*/ 0 h 504056"/>
                <a:gd name="connsiteX1" fmla="*/ 504056 w 504056"/>
                <a:gd name="connsiteY1" fmla="*/ 504056 h 504056"/>
                <a:gd name="connsiteX2" fmla="*/ 0 w 504056"/>
                <a:gd name="connsiteY2" fmla="*/ 504056 h 504056"/>
                <a:gd name="connsiteX3" fmla="*/ 0 w 504056"/>
                <a:gd name="connsiteY3" fmla="*/ 0 h 504056"/>
                <a:gd name="connsiteX0" fmla="*/ 504056 w 504056"/>
                <a:gd name="connsiteY0" fmla="*/ 504056 h 504056"/>
                <a:gd name="connsiteX1" fmla="*/ 0 w 504056"/>
                <a:gd name="connsiteY1" fmla="*/ 504056 h 504056"/>
                <a:gd name="connsiteX2" fmla="*/ 0 w 504056"/>
                <a:gd name="connsiteY2" fmla="*/ 0 h 50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056" h="504056">
                  <a:moveTo>
                    <a:pt x="504056" y="504056"/>
                  </a:moveTo>
                  <a:lnTo>
                    <a:pt x="0" y="504056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33"/>
            </a:p>
          </p:txBody>
        </p:sp>
      </p:grpSp>
      <p:sp>
        <p:nvSpPr>
          <p:cNvPr id="46" name="Rechteck 45"/>
          <p:cNvSpPr/>
          <p:nvPr/>
        </p:nvSpPr>
        <p:spPr>
          <a:xfrm>
            <a:off x="8985815" y="1455842"/>
            <a:ext cx="522820" cy="244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de-DE" sz="907" dirty="0">
                <a:solidFill>
                  <a:schemeClr val="bg1"/>
                </a:solidFill>
              </a:rPr>
              <a:t>Ausrichtung</a:t>
            </a:r>
          </a:p>
          <a:p>
            <a:r>
              <a:rPr lang="de-DE" sz="907" dirty="0">
                <a:solidFill>
                  <a:schemeClr val="bg1"/>
                </a:solidFill>
              </a:rPr>
              <a:t>mittig</a:t>
            </a:r>
          </a:p>
        </p:txBody>
      </p:sp>
      <p:sp>
        <p:nvSpPr>
          <p:cNvPr id="47" name="Rechteck 46"/>
          <p:cNvSpPr/>
          <p:nvPr/>
        </p:nvSpPr>
        <p:spPr>
          <a:xfrm>
            <a:off x="9933468" y="1129243"/>
            <a:ext cx="522820" cy="244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r>
              <a:rPr lang="de-DE" sz="907" dirty="0">
                <a:solidFill>
                  <a:schemeClr val="bg1"/>
                </a:solidFill>
              </a:rPr>
              <a:t>Ausrichtung</a:t>
            </a:r>
          </a:p>
          <a:p>
            <a:r>
              <a:rPr lang="de-DE" sz="907" dirty="0">
                <a:solidFill>
                  <a:schemeClr val="bg1"/>
                </a:solidFill>
              </a:rPr>
              <a:t>rechts</a:t>
            </a:r>
          </a:p>
        </p:txBody>
      </p:sp>
      <p:sp>
        <p:nvSpPr>
          <p:cNvPr id="59" name="Rechteck 58"/>
          <p:cNvSpPr/>
          <p:nvPr/>
        </p:nvSpPr>
        <p:spPr>
          <a:xfrm>
            <a:off x="4008000" y="4582990"/>
            <a:ext cx="4423097" cy="1690810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/>
          <a:p>
            <a:pPr>
              <a:spcAft>
                <a:spcPts val="181"/>
              </a:spcAft>
            </a:pPr>
            <a:r>
              <a:rPr lang="de-DE" sz="1000" dirty="0" err="1">
                <a:solidFill>
                  <a:schemeClr val="bg1"/>
                </a:solidFill>
                <a:latin typeface="+mj-lt"/>
              </a:rPr>
              <a:t>Ebenensprünge</a:t>
            </a:r>
            <a:endParaRPr lang="de-DE" sz="1000" dirty="0">
              <a:solidFill>
                <a:schemeClr val="bg1"/>
              </a:solidFill>
              <a:latin typeface="+mj-lt"/>
            </a:endParaRP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</a:pPr>
            <a:r>
              <a:rPr lang="de-DE" sz="1000" dirty="0">
                <a:solidFill>
                  <a:schemeClr val="bg1"/>
                </a:solidFill>
              </a:rPr>
              <a:t>Die Textebenen werden mit dem Befehl Listenebene erhöhen und Listenebene verringern zugewiesen. </a:t>
            </a:r>
            <a:r>
              <a:rPr lang="de-DE" sz="1000" b="1" dirty="0">
                <a:solidFill>
                  <a:schemeClr val="bg1"/>
                </a:solidFill>
              </a:rPr>
              <a:t>Registerkarte:</a:t>
            </a:r>
            <a:r>
              <a:rPr lang="de-DE" sz="1000" dirty="0">
                <a:solidFill>
                  <a:schemeClr val="bg1"/>
                </a:solidFill>
              </a:rPr>
              <a:t> Start </a:t>
            </a:r>
            <a:br>
              <a:rPr lang="de-DE" sz="1000" dirty="0">
                <a:solidFill>
                  <a:schemeClr val="bg1"/>
                </a:solidFill>
              </a:rPr>
            </a:br>
            <a:r>
              <a:rPr lang="de-DE" sz="1000" b="1" dirty="0">
                <a:solidFill>
                  <a:schemeClr val="bg1"/>
                </a:solidFill>
              </a:rPr>
              <a:t>Bereich</a:t>
            </a:r>
            <a:r>
              <a:rPr lang="de-DE" sz="1000" b="1">
                <a:solidFill>
                  <a:schemeClr val="bg1"/>
                </a:solidFill>
              </a:rPr>
              <a:t>:</a:t>
            </a:r>
            <a:r>
              <a:rPr lang="de-DE" sz="1000">
                <a:solidFill>
                  <a:schemeClr val="bg1"/>
                </a:solidFill>
              </a:rPr>
              <a:t> Absatz</a:t>
            </a:r>
            <a:endParaRPr lang="de-DE" sz="1000" dirty="0">
              <a:solidFill>
                <a:schemeClr val="bg1"/>
              </a:solidFill>
            </a:endParaRP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</a:pPr>
            <a:endParaRPr lang="de-DE" sz="1000" dirty="0">
              <a:solidFill>
                <a:schemeClr val="bg1"/>
              </a:solidFill>
            </a:endParaRP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</a:pPr>
            <a:endParaRPr lang="de-DE" sz="1000" dirty="0">
              <a:solidFill>
                <a:schemeClr val="bg1"/>
              </a:solidFill>
            </a:endParaRPr>
          </a:p>
          <a:p>
            <a:pPr marL="0" lvl="2">
              <a:spcAft>
                <a:spcPts val="181"/>
              </a:spcAft>
              <a:buClr>
                <a:schemeClr val="bg1"/>
              </a:buClr>
            </a:pPr>
            <a:r>
              <a:rPr lang="de-DE" sz="907" dirty="0">
                <a:solidFill>
                  <a:schemeClr val="bg1"/>
                </a:solidFill>
              </a:rPr>
              <a:t>Alternativ sind folgende Tastenkombinationen definiert:</a:t>
            </a: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tabLst>
                <a:tab pos="1382573" algn="l"/>
              </a:tabLst>
            </a:pPr>
            <a:r>
              <a:rPr lang="de-DE" sz="1000" dirty="0">
                <a:solidFill>
                  <a:schemeClr val="bg1"/>
                </a:solidFill>
              </a:rPr>
              <a:t>Listenebene erhöhen:	</a:t>
            </a:r>
            <a:r>
              <a:rPr lang="de-DE" sz="1000" dirty="0" err="1">
                <a:solidFill>
                  <a:schemeClr val="bg1"/>
                </a:solidFill>
              </a:rPr>
              <a:t>Alt+Shift+Pfeiltaste</a:t>
            </a:r>
            <a:r>
              <a:rPr lang="de-DE" sz="1000" dirty="0">
                <a:solidFill>
                  <a:schemeClr val="bg1"/>
                </a:solidFill>
              </a:rPr>
              <a:t> rechts</a:t>
            </a:r>
          </a:p>
          <a:p>
            <a: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tabLst>
                <a:tab pos="1382573" algn="l"/>
              </a:tabLst>
            </a:pPr>
            <a:r>
              <a:rPr lang="de-DE" sz="1000" dirty="0">
                <a:solidFill>
                  <a:schemeClr val="bg1"/>
                </a:solidFill>
              </a:rPr>
              <a:t>Listenebene verringern:	</a:t>
            </a:r>
            <a:r>
              <a:rPr lang="de-DE" sz="1000" dirty="0" err="1">
                <a:solidFill>
                  <a:schemeClr val="bg1"/>
                </a:solidFill>
              </a:rPr>
              <a:t>Alt+Shift+Pfeiltaste</a:t>
            </a:r>
            <a:r>
              <a:rPr lang="de-DE" sz="1000" dirty="0">
                <a:solidFill>
                  <a:schemeClr val="bg1"/>
                </a:solidFill>
              </a:rPr>
              <a:t> links</a:t>
            </a:r>
          </a:p>
          <a:p>
            <a:pPr marL="163296" lvl="2" indent="-163296">
              <a:spcAft>
                <a:spcPts val="181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de-DE" sz="907" dirty="0">
              <a:solidFill>
                <a:schemeClr val="bg1"/>
              </a:solidFill>
            </a:endParaRPr>
          </a:p>
        </p:txBody>
      </p:sp>
      <p:pic>
        <p:nvPicPr>
          <p:cNvPr id="60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50" t="5584" r="64008" b="92185"/>
          <a:stretch/>
        </p:blipFill>
        <p:spPr bwMode="auto">
          <a:xfrm>
            <a:off x="5339916" y="5193196"/>
            <a:ext cx="604128" cy="29618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39" name="Gewinkelte Verbindung 38"/>
          <p:cNvCxnSpPr>
            <a:cxnSpLocks/>
            <a:stCxn id="41" idx="1"/>
            <a:endCxn id="62" idx="0"/>
          </p:cNvCxnSpPr>
          <p:nvPr/>
        </p:nvCxnSpPr>
        <p:spPr>
          <a:xfrm rot="10800000" flipV="1">
            <a:off x="516097" y="1018508"/>
            <a:ext cx="8093688" cy="862679"/>
          </a:xfrm>
          <a:prstGeom prst="bentConnector2">
            <a:avLst/>
          </a:prstGeom>
          <a:ln w="12700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/>
          <p:cNvSpPr/>
          <p:nvPr/>
        </p:nvSpPr>
        <p:spPr>
          <a:xfrm>
            <a:off x="173144" y="1881188"/>
            <a:ext cx="685906" cy="3238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17" tIns="32659" rIns="65317" bIns="32659" rtlCol="0" anchor="ctr"/>
          <a:lstStyle/>
          <a:p>
            <a:pPr algn="ctr">
              <a:buClr>
                <a:schemeClr val="bg2"/>
              </a:buClr>
            </a:pPr>
            <a:endParaRPr lang="de-DE" sz="1452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83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Bildplatzhalter 13" descr="Ein Bild, das Himmel, draußen, Person, Mann enthält.&#10;&#10;Automatisch generierte Beschreibung">
            <a:extLst>
              <a:ext uri="{FF2B5EF4-FFF2-40B4-BE49-F238E27FC236}">
                <a16:creationId xmlns:a16="http://schemas.microsoft.com/office/drawing/2014/main" id="{309E40AF-B945-1282-CF15-5ED11E522A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" r="7"/>
          <a:stretch/>
        </p:blipFill>
        <p:spPr bwMode="gray">
          <a:xfrm>
            <a:off x="407988" y="1881188"/>
            <a:ext cx="5400675" cy="439261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arbeiten von Bilder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F3E40750-43DD-44D7-993D-19CAB7B80A87}" type="slidenum">
              <a:rPr lang="de-DE" smtClean="0"/>
              <a:pPr/>
              <a:t>8</a:t>
            </a:fld>
            <a:endParaRPr lang="de-DE"/>
          </a:p>
        </p:txBody>
      </p:sp>
      <p:grpSp>
        <p:nvGrpSpPr>
          <p:cNvPr id="12" name="Gruppieren 11"/>
          <p:cNvGrpSpPr/>
          <p:nvPr/>
        </p:nvGrpSpPr>
        <p:grpSpPr>
          <a:xfrm>
            <a:off x="311988" y="1785188"/>
            <a:ext cx="192000" cy="192000"/>
            <a:chOff x="4103948" y="1383618"/>
            <a:chExt cx="180020" cy="180020"/>
          </a:xfrm>
        </p:grpSpPr>
        <p:sp>
          <p:nvSpPr>
            <p:cNvPr id="7" name="Ellipse 6"/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24" name="Ellipse 23"/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grpSp>
        <p:nvGrpSpPr>
          <p:cNvPr id="26" name="Gruppieren 25"/>
          <p:cNvGrpSpPr/>
          <p:nvPr/>
        </p:nvGrpSpPr>
        <p:grpSpPr>
          <a:xfrm>
            <a:off x="7872197" y="2036845"/>
            <a:ext cx="192000" cy="192000"/>
            <a:chOff x="4103948" y="1383618"/>
            <a:chExt cx="180020" cy="180020"/>
          </a:xfrm>
        </p:grpSpPr>
        <p:sp>
          <p:nvSpPr>
            <p:cNvPr id="27" name="Ellipse 26"/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28" name="Ellipse 27"/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311988" y="6177800"/>
            <a:ext cx="192000" cy="192000"/>
            <a:chOff x="4103948" y="1383618"/>
            <a:chExt cx="180020" cy="180020"/>
          </a:xfrm>
        </p:grpSpPr>
        <p:sp>
          <p:nvSpPr>
            <p:cNvPr id="30" name="Ellipse 29"/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31" name="Ellipse 30"/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grpSp>
        <p:nvGrpSpPr>
          <p:cNvPr id="32" name="Gruppieren 31"/>
          <p:cNvGrpSpPr/>
          <p:nvPr/>
        </p:nvGrpSpPr>
        <p:grpSpPr>
          <a:xfrm>
            <a:off x="5712075" y="6177800"/>
            <a:ext cx="192000" cy="192000"/>
            <a:chOff x="4103948" y="1383618"/>
            <a:chExt cx="180020" cy="180020"/>
          </a:xfrm>
        </p:grpSpPr>
        <p:sp>
          <p:nvSpPr>
            <p:cNvPr id="33" name="Ellipse 32"/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34" name="Ellipse 33"/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sp>
        <p:nvSpPr>
          <p:cNvPr id="36" name="Textfeld 35">
            <a:extLst>
              <a:ext uri="{FF2B5EF4-FFF2-40B4-BE49-F238E27FC236}">
                <a16:creationId xmlns:a16="http://schemas.microsoft.com/office/drawing/2014/main" id="{19F81DC5-671D-1B39-6562-6C9BA676A6AA}"/>
              </a:ext>
            </a:extLst>
          </p:cNvPr>
          <p:cNvSpPr txBox="1"/>
          <p:nvPr/>
        </p:nvSpPr>
        <p:spPr>
          <a:xfrm>
            <a:off x="8544272" y="4833156"/>
            <a:ext cx="1810749" cy="612700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r>
              <a:rPr lang="de-DE" dirty="0">
                <a:latin typeface="+mn-lt"/>
              </a:rPr>
              <a:t>Mit dem Button „Zuschneiden“ kannst du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das Bild zuschneiden.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F7CB21C2-D266-8297-7729-1632847EF86B}"/>
              </a:ext>
            </a:extLst>
          </p:cNvPr>
          <p:cNvSpPr txBox="1"/>
          <p:nvPr/>
        </p:nvSpPr>
        <p:spPr>
          <a:xfrm>
            <a:off x="6096000" y="1881188"/>
            <a:ext cx="2628985" cy="648072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r>
              <a:rPr lang="de-DE" dirty="0">
                <a:latin typeface="+mn-lt"/>
              </a:rPr>
              <a:t>Bitte ziehe das eingefügte Bild nur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an den Eckpunkten mit gedrückter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Shift-Taste in die entsprechende Größe.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FBBA4D7D-5CCB-5F1E-11B8-5DFAD64D3F33}"/>
              </a:ext>
            </a:extLst>
          </p:cNvPr>
          <p:cNvGrpSpPr/>
          <p:nvPr/>
        </p:nvGrpSpPr>
        <p:grpSpPr>
          <a:xfrm>
            <a:off x="5712663" y="1785188"/>
            <a:ext cx="192000" cy="192000"/>
            <a:chOff x="4103948" y="1383618"/>
            <a:chExt cx="180020" cy="180020"/>
          </a:xfrm>
        </p:grpSpPr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F6083914-DCC8-71BC-469C-071B2D90D7A5}"/>
                </a:ext>
              </a:extLst>
            </p:cNvPr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A534412F-A5E1-2480-8853-D504F299D1F5}"/>
                </a:ext>
              </a:extLst>
            </p:cNvPr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B5F86C15-42DB-A9B5-717C-2FE75F1FCE9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7389" y="4029075"/>
            <a:ext cx="11196624" cy="731104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hteck 13"/>
          <p:cNvSpPr/>
          <p:nvPr/>
        </p:nvSpPr>
        <p:spPr>
          <a:xfrm rot="5400000" flipH="1">
            <a:off x="10383656" y="4721965"/>
            <a:ext cx="192021" cy="270388"/>
          </a:xfrm>
          <a:custGeom>
            <a:avLst/>
            <a:gdLst>
              <a:gd name="connsiteX0" fmla="*/ 0 w 1620180"/>
              <a:gd name="connsiteY0" fmla="*/ 0 h 467506"/>
              <a:gd name="connsiteX1" fmla="*/ 1620180 w 1620180"/>
              <a:gd name="connsiteY1" fmla="*/ 0 h 467506"/>
              <a:gd name="connsiteX2" fmla="*/ 1620180 w 1620180"/>
              <a:gd name="connsiteY2" fmla="*/ 467506 h 467506"/>
              <a:gd name="connsiteX3" fmla="*/ 0 w 1620180"/>
              <a:gd name="connsiteY3" fmla="*/ 467506 h 467506"/>
              <a:gd name="connsiteX4" fmla="*/ 0 w 1620180"/>
              <a:gd name="connsiteY4" fmla="*/ 0 h 467506"/>
              <a:gd name="connsiteX0" fmla="*/ 1620180 w 1711620"/>
              <a:gd name="connsiteY0" fmla="*/ 467506 h 558946"/>
              <a:gd name="connsiteX1" fmla="*/ 0 w 1711620"/>
              <a:gd name="connsiteY1" fmla="*/ 467506 h 558946"/>
              <a:gd name="connsiteX2" fmla="*/ 0 w 1711620"/>
              <a:gd name="connsiteY2" fmla="*/ 0 h 558946"/>
              <a:gd name="connsiteX3" fmla="*/ 1620180 w 1711620"/>
              <a:gd name="connsiteY3" fmla="*/ 0 h 558946"/>
              <a:gd name="connsiteX4" fmla="*/ 1711620 w 1711620"/>
              <a:gd name="connsiteY4" fmla="*/ 558946 h 558946"/>
              <a:gd name="connsiteX0" fmla="*/ 1620180 w 1620180"/>
              <a:gd name="connsiteY0" fmla="*/ 467506 h 467506"/>
              <a:gd name="connsiteX1" fmla="*/ 0 w 1620180"/>
              <a:gd name="connsiteY1" fmla="*/ 467506 h 467506"/>
              <a:gd name="connsiteX2" fmla="*/ 0 w 1620180"/>
              <a:gd name="connsiteY2" fmla="*/ 0 h 467506"/>
              <a:gd name="connsiteX3" fmla="*/ 1620180 w 1620180"/>
              <a:gd name="connsiteY3" fmla="*/ 0 h 467506"/>
              <a:gd name="connsiteX0" fmla="*/ 0 w 1620180"/>
              <a:gd name="connsiteY0" fmla="*/ 467506 h 467506"/>
              <a:gd name="connsiteX1" fmla="*/ 0 w 1620180"/>
              <a:gd name="connsiteY1" fmla="*/ 0 h 467506"/>
              <a:gd name="connsiteX2" fmla="*/ 1620180 w 1620180"/>
              <a:gd name="connsiteY2" fmla="*/ 0 h 46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0180" h="467506">
                <a:moveTo>
                  <a:pt x="0" y="467506"/>
                </a:moveTo>
                <a:lnTo>
                  <a:pt x="0" y="0"/>
                </a:lnTo>
                <a:lnTo>
                  <a:pt x="1620180" y="0"/>
                </a:lnTo>
              </a:path>
            </a:pathLst>
          </a:custGeom>
          <a:ln w="12700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355591" indent="-355591" algn="ctr">
              <a:buClr>
                <a:schemeClr val="accent4"/>
              </a:buClr>
              <a:buFont typeface="Arial" pitchFamily="34" charset="0"/>
              <a:buChar char="&gt;"/>
            </a:pPr>
            <a:endParaRPr lang="de-DE" sz="2400" dirty="0" err="1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78A87B25-8041-245A-C384-39AD686A59DA}"/>
              </a:ext>
            </a:extLst>
          </p:cNvPr>
          <p:cNvSpPr txBox="1"/>
          <p:nvPr/>
        </p:nvSpPr>
        <p:spPr>
          <a:xfrm>
            <a:off x="3215679" y="4833156"/>
            <a:ext cx="2592983" cy="756084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r>
              <a:rPr lang="de-DE" dirty="0">
                <a:latin typeface="+mn-lt"/>
              </a:rPr>
              <a:t>Solltest du das Gefühl haben, dass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sich das Bild verzogen hat, klicke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den Button „Grafik zurücksetzen“.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(Registerkarte: Bildformat).</a:t>
            </a:r>
          </a:p>
        </p:txBody>
      </p:sp>
      <p:sp>
        <p:nvSpPr>
          <p:cNvPr id="42" name="Rechteck 13">
            <a:extLst>
              <a:ext uri="{FF2B5EF4-FFF2-40B4-BE49-F238E27FC236}">
                <a16:creationId xmlns:a16="http://schemas.microsoft.com/office/drawing/2014/main" id="{6DB54A04-2756-C1C7-99EF-6E35CB7B5EFE}"/>
              </a:ext>
            </a:extLst>
          </p:cNvPr>
          <p:cNvSpPr/>
          <p:nvPr/>
        </p:nvSpPr>
        <p:spPr>
          <a:xfrm rot="16200000">
            <a:off x="2801634" y="4527121"/>
            <a:ext cx="288032" cy="540059"/>
          </a:xfrm>
          <a:custGeom>
            <a:avLst/>
            <a:gdLst>
              <a:gd name="connsiteX0" fmla="*/ 0 w 1620180"/>
              <a:gd name="connsiteY0" fmla="*/ 0 h 467506"/>
              <a:gd name="connsiteX1" fmla="*/ 1620180 w 1620180"/>
              <a:gd name="connsiteY1" fmla="*/ 0 h 467506"/>
              <a:gd name="connsiteX2" fmla="*/ 1620180 w 1620180"/>
              <a:gd name="connsiteY2" fmla="*/ 467506 h 467506"/>
              <a:gd name="connsiteX3" fmla="*/ 0 w 1620180"/>
              <a:gd name="connsiteY3" fmla="*/ 467506 h 467506"/>
              <a:gd name="connsiteX4" fmla="*/ 0 w 1620180"/>
              <a:gd name="connsiteY4" fmla="*/ 0 h 467506"/>
              <a:gd name="connsiteX0" fmla="*/ 1620180 w 1711620"/>
              <a:gd name="connsiteY0" fmla="*/ 467506 h 558946"/>
              <a:gd name="connsiteX1" fmla="*/ 0 w 1711620"/>
              <a:gd name="connsiteY1" fmla="*/ 467506 h 558946"/>
              <a:gd name="connsiteX2" fmla="*/ 0 w 1711620"/>
              <a:gd name="connsiteY2" fmla="*/ 0 h 558946"/>
              <a:gd name="connsiteX3" fmla="*/ 1620180 w 1711620"/>
              <a:gd name="connsiteY3" fmla="*/ 0 h 558946"/>
              <a:gd name="connsiteX4" fmla="*/ 1711620 w 1711620"/>
              <a:gd name="connsiteY4" fmla="*/ 558946 h 558946"/>
              <a:gd name="connsiteX0" fmla="*/ 1620180 w 1620180"/>
              <a:gd name="connsiteY0" fmla="*/ 467506 h 467506"/>
              <a:gd name="connsiteX1" fmla="*/ 0 w 1620180"/>
              <a:gd name="connsiteY1" fmla="*/ 467506 h 467506"/>
              <a:gd name="connsiteX2" fmla="*/ 0 w 1620180"/>
              <a:gd name="connsiteY2" fmla="*/ 0 h 467506"/>
              <a:gd name="connsiteX3" fmla="*/ 1620180 w 1620180"/>
              <a:gd name="connsiteY3" fmla="*/ 0 h 467506"/>
              <a:gd name="connsiteX0" fmla="*/ 0 w 1620180"/>
              <a:gd name="connsiteY0" fmla="*/ 467506 h 467506"/>
              <a:gd name="connsiteX1" fmla="*/ 0 w 1620180"/>
              <a:gd name="connsiteY1" fmla="*/ 0 h 467506"/>
              <a:gd name="connsiteX2" fmla="*/ 1620180 w 1620180"/>
              <a:gd name="connsiteY2" fmla="*/ 0 h 46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0180" h="467506">
                <a:moveTo>
                  <a:pt x="0" y="467506"/>
                </a:moveTo>
                <a:lnTo>
                  <a:pt x="0" y="0"/>
                </a:lnTo>
                <a:lnTo>
                  <a:pt x="1620180" y="0"/>
                </a:lnTo>
              </a:path>
            </a:pathLst>
          </a:custGeom>
          <a:ln w="12700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355591" indent="-355591" algn="ctr">
              <a:buClr>
                <a:schemeClr val="accent4"/>
              </a:buClr>
              <a:buFont typeface="Arial" pitchFamily="34" charset="0"/>
              <a:buChar char="&gt;"/>
            </a:pPr>
            <a:endParaRPr lang="de-DE" sz="2400" dirty="0" err="1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72D6DFF-0698-CB5C-F047-46012E2CF0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24392" y="2096852"/>
            <a:ext cx="914479" cy="914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86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ADC3DE21-9B46-E2AB-9224-B80E51C78A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620" t="21883" r="18353" b="6601"/>
          <a:stretch/>
        </p:blipFill>
        <p:spPr>
          <a:xfrm>
            <a:off x="6383338" y="1881188"/>
            <a:ext cx="5400675" cy="4392612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2FD5AA6-A113-D1A6-5E02-F855CD61FBB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844" t="23502" r="9063" b="8178"/>
          <a:stretch/>
        </p:blipFill>
        <p:spPr>
          <a:xfrm>
            <a:off x="407988" y="3228739"/>
            <a:ext cx="5400675" cy="3045061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arbeiten von Titelbilder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uideline für PowerPoint | Januar 2023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F3E40750-43DD-44D7-993D-19CAB7B80A87}" type="slidenum">
              <a:rPr lang="de-DE" smtClean="0"/>
              <a:pPr/>
              <a:t>9</a:t>
            </a:fld>
            <a:endParaRPr lang="de-DE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FBBA4D7D-5CCB-5F1E-11B8-5DFAD64D3F33}"/>
              </a:ext>
            </a:extLst>
          </p:cNvPr>
          <p:cNvGrpSpPr/>
          <p:nvPr/>
        </p:nvGrpSpPr>
        <p:grpSpPr>
          <a:xfrm>
            <a:off x="7150720" y="2473846"/>
            <a:ext cx="192000" cy="192000"/>
            <a:chOff x="4103948" y="1383618"/>
            <a:chExt cx="180020" cy="180020"/>
          </a:xfrm>
        </p:grpSpPr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F6083914-DCC8-71BC-469C-071B2D90D7A5}"/>
                </a:ext>
              </a:extLst>
            </p:cNvPr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A534412F-A5E1-2480-8853-D504F299D1F5}"/>
                </a:ext>
              </a:extLst>
            </p:cNvPr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sp>
        <p:nvSpPr>
          <p:cNvPr id="41" name="Textfeld 40">
            <a:extLst>
              <a:ext uri="{FF2B5EF4-FFF2-40B4-BE49-F238E27FC236}">
                <a16:creationId xmlns:a16="http://schemas.microsoft.com/office/drawing/2014/main" id="{78A87B25-8041-245A-C384-39AD686A59DA}"/>
              </a:ext>
            </a:extLst>
          </p:cNvPr>
          <p:cNvSpPr txBox="1"/>
          <p:nvPr/>
        </p:nvSpPr>
        <p:spPr>
          <a:xfrm>
            <a:off x="1487488" y="5409220"/>
            <a:ext cx="2592983" cy="756084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r>
              <a:rPr lang="de-DE" b="1" dirty="0">
                <a:latin typeface="+mn-lt"/>
              </a:rPr>
              <a:t>Achtung</a:t>
            </a:r>
            <a:r>
              <a:rPr lang="de-DE" dirty="0">
                <a:latin typeface="+mn-lt"/>
              </a:rPr>
              <a:t>: der Impuls ist aus dem Bildplatzhalter gestanzt. Um das Bild zu Bearbeiten / Skalieren, musst du das „Zuschneiden“-Werkzeug nutzen.</a:t>
            </a:r>
          </a:p>
          <a:p>
            <a:endParaRPr lang="de-DE" dirty="0">
              <a:latin typeface="+mn-lt"/>
            </a:endParaRPr>
          </a:p>
        </p:txBody>
      </p:sp>
      <p:sp>
        <p:nvSpPr>
          <p:cNvPr id="42" name="Rechteck 13">
            <a:extLst>
              <a:ext uri="{FF2B5EF4-FFF2-40B4-BE49-F238E27FC236}">
                <a16:creationId xmlns:a16="http://schemas.microsoft.com/office/drawing/2014/main" id="{6DB54A04-2756-C1C7-99EF-6E35CB7B5EFE}"/>
              </a:ext>
            </a:extLst>
          </p:cNvPr>
          <p:cNvSpPr/>
          <p:nvPr/>
        </p:nvSpPr>
        <p:spPr>
          <a:xfrm rot="16200000">
            <a:off x="1073443" y="5103185"/>
            <a:ext cx="288032" cy="540059"/>
          </a:xfrm>
          <a:custGeom>
            <a:avLst/>
            <a:gdLst>
              <a:gd name="connsiteX0" fmla="*/ 0 w 1620180"/>
              <a:gd name="connsiteY0" fmla="*/ 0 h 467506"/>
              <a:gd name="connsiteX1" fmla="*/ 1620180 w 1620180"/>
              <a:gd name="connsiteY1" fmla="*/ 0 h 467506"/>
              <a:gd name="connsiteX2" fmla="*/ 1620180 w 1620180"/>
              <a:gd name="connsiteY2" fmla="*/ 467506 h 467506"/>
              <a:gd name="connsiteX3" fmla="*/ 0 w 1620180"/>
              <a:gd name="connsiteY3" fmla="*/ 467506 h 467506"/>
              <a:gd name="connsiteX4" fmla="*/ 0 w 1620180"/>
              <a:gd name="connsiteY4" fmla="*/ 0 h 467506"/>
              <a:gd name="connsiteX0" fmla="*/ 1620180 w 1711620"/>
              <a:gd name="connsiteY0" fmla="*/ 467506 h 558946"/>
              <a:gd name="connsiteX1" fmla="*/ 0 w 1711620"/>
              <a:gd name="connsiteY1" fmla="*/ 467506 h 558946"/>
              <a:gd name="connsiteX2" fmla="*/ 0 w 1711620"/>
              <a:gd name="connsiteY2" fmla="*/ 0 h 558946"/>
              <a:gd name="connsiteX3" fmla="*/ 1620180 w 1711620"/>
              <a:gd name="connsiteY3" fmla="*/ 0 h 558946"/>
              <a:gd name="connsiteX4" fmla="*/ 1711620 w 1711620"/>
              <a:gd name="connsiteY4" fmla="*/ 558946 h 558946"/>
              <a:gd name="connsiteX0" fmla="*/ 1620180 w 1620180"/>
              <a:gd name="connsiteY0" fmla="*/ 467506 h 467506"/>
              <a:gd name="connsiteX1" fmla="*/ 0 w 1620180"/>
              <a:gd name="connsiteY1" fmla="*/ 467506 h 467506"/>
              <a:gd name="connsiteX2" fmla="*/ 0 w 1620180"/>
              <a:gd name="connsiteY2" fmla="*/ 0 h 467506"/>
              <a:gd name="connsiteX3" fmla="*/ 1620180 w 1620180"/>
              <a:gd name="connsiteY3" fmla="*/ 0 h 467506"/>
              <a:gd name="connsiteX0" fmla="*/ 0 w 1620180"/>
              <a:gd name="connsiteY0" fmla="*/ 467506 h 467506"/>
              <a:gd name="connsiteX1" fmla="*/ 0 w 1620180"/>
              <a:gd name="connsiteY1" fmla="*/ 0 h 467506"/>
              <a:gd name="connsiteX2" fmla="*/ 1620180 w 1620180"/>
              <a:gd name="connsiteY2" fmla="*/ 0 h 46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0180" h="467506">
                <a:moveTo>
                  <a:pt x="0" y="467506"/>
                </a:moveTo>
                <a:lnTo>
                  <a:pt x="0" y="0"/>
                </a:lnTo>
                <a:lnTo>
                  <a:pt x="1620180" y="0"/>
                </a:lnTo>
              </a:path>
            </a:pathLst>
          </a:custGeom>
          <a:ln w="12700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355591" indent="-355591" algn="ctr">
              <a:buClr>
                <a:schemeClr val="accent4"/>
              </a:buClr>
              <a:buFont typeface="Arial" pitchFamily="34" charset="0"/>
              <a:buChar char="&gt;"/>
            </a:pPr>
            <a:endParaRPr lang="de-DE" sz="2400" dirty="0" err="1"/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63673A46-397C-3ADE-A2DC-DBA2BE0F5E33}"/>
              </a:ext>
            </a:extLst>
          </p:cNvPr>
          <p:cNvGrpSpPr/>
          <p:nvPr/>
        </p:nvGrpSpPr>
        <p:grpSpPr>
          <a:xfrm>
            <a:off x="7147259" y="5505327"/>
            <a:ext cx="192000" cy="192000"/>
            <a:chOff x="4103948" y="1383618"/>
            <a:chExt cx="180020" cy="180020"/>
          </a:xfrm>
        </p:grpSpPr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94535CFC-79F2-8053-9C95-8A61349DC8D6}"/>
                </a:ext>
              </a:extLst>
            </p:cNvPr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4085E807-C5CC-B609-3FD5-B880B801C717}"/>
                </a:ext>
              </a:extLst>
            </p:cNvPr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88729434-2453-CA93-9636-12AF71A9FB74}"/>
              </a:ext>
            </a:extLst>
          </p:cNvPr>
          <p:cNvGrpSpPr/>
          <p:nvPr/>
        </p:nvGrpSpPr>
        <p:grpSpPr>
          <a:xfrm>
            <a:off x="10865480" y="5500280"/>
            <a:ext cx="192000" cy="192000"/>
            <a:chOff x="4103948" y="1383618"/>
            <a:chExt cx="180020" cy="180020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BE8586FC-FD0E-9A48-FE9C-5E0BC135B52E}"/>
                </a:ext>
              </a:extLst>
            </p:cNvPr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B92D8ECF-631F-B772-4311-8DE04A3773F2}"/>
                </a:ext>
              </a:extLst>
            </p:cNvPr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EFDC4475-0ACA-5D4C-0F2A-9263121D6EBD}"/>
              </a:ext>
            </a:extLst>
          </p:cNvPr>
          <p:cNvGrpSpPr/>
          <p:nvPr/>
        </p:nvGrpSpPr>
        <p:grpSpPr>
          <a:xfrm>
            <a:off x="10875008" y="2469082"/>
            <a:ext cx="192000" cy="192000"/>
            <a:chOff x="4103948" y="1383618"/>
            <a:chExt cx="180020" cy="180020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EE3A1BA2-03A1-876A-6BA1-23AE17A09375}"/>
                </a:ext>
              </a:extLst>
            </p:cNvPr>
            <p:cNvSpPr/>
            <p:nvPr/>
          </p:nvSpPr>
          <p:spPr>
            <a:xfrm>
              <a:off x="4103948" y="1383618"/>
              <a:ext cx="180020" cy="180020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3378A04E-C779-8D6D-D25D-A45C9C1EDEB3}"/>
                </a:ext>
              </a:extLst>
            </p:cNvPr>
            <p:cNvSpPr/>
            <p:nvPr/>
          </p:nvSpPr>
          <p:spPr>
            <a:xfrm>
              <a:off x="4153762" y="1433432"/>
              <a:ext cx="80392" cy="80392"/>
            </a:xfrm>
            <a:prstGeom prst="ellipse">
              <a:avLst/>
            </a:prstGeom>
            <a:noFill/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994" indent="-239994" algn="ctr">
                <a:spcBef>
                  <a:spcPts val="8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de-DE" sz="2133">
                <a:solidFill>
                  <a:schemeClr val="tx2"/>
                </a:solidFill>
              </a:endParaRPr>
            </a:p>
          </p:txBody>
        </p:sp>
      </p:grpSp>
      <p:sp>
        <p:nvSpPr>
          <p:cNvPr id="56" name="Rechteck 13">
            <a:extLst>
              <a:ext uri="{FF2B5EF4-FFF2-40B4-BE49-F238E27FC236}">
                <a16:creationId xmlns:a16="http://schemas.microsoft.com/office/drawing/2014/main" id="{85ADC48B-7FA3-3AF1-F270-C91175B20035}"/>
              </a:ext>
            </a:extLst>
          </p:cNvPr>
          <p:cNvSpPr/>
          <p:nvPr/>
        </p:nvSpPr>
        <p:spPr>
          <a:xfrm rot="5400000" flipV="1">
            <a:off x="7320136" y="2096852"/>
            <a:ext cx="216024" cy="360040"/>
          </a:xfrm>
          <a:custGeom>
            <a:avLst/>
            <a:gdLst>
              <a:gd name="connsiteX0" fmla="*/ 0 w 1620180"/>
              <a:gd name="connsiteY0" fmla="*/ 0 h 467506"/>
              <a:gd name="connsiteX1" fmla="*/ 1620180 w 1620180"/>
              <a:gd name="connsiteY1" fmla="*/ 0 h 467506"/>
              <a:gd name="connsiteX2" fmla="*/ 1620180 w 1620180"/>
              <a:gd name="connsiteY2" fmla="*/ 467506 h 467506"/>
              <a:gd name="connsiteX3" fmla="*/ 0 w 1620180"/>
              <a:gd name="connsiteY3" fmla="*/ 467506 h 467506"/>
              <a:gd name="connsiteX4" fmla="*/ 0 w 1620180"/>
              <a:gd name="connsiteY4" fmla="*/ 0 h 467506"/>
              <a:gd name="connsiteX0" fmla="*/ 1620180 w 1711620"/>
              <a:gd name="connsiteY0" fmla="*/ 467506 h 558946"/>
              <a:gd name="connsiteX1" fmla="*/ 0 w 1711620"/>
              <a:gd name="connsiteY1" fmla="*/ 467506 h 558946"/>
              <a:gd name="connsiteX2" fmla="*/ 0 w 1711620"/>
              <a:gd name="connsiteY2" fmla="*/ 0 h 558946"/>
              <a:gd name="connsiteX3" fmla="*/ 1620180 w 1711620"/>
              <a:gd name="connsiteY3" fmla="*/ 0 h 558946"/>
              <a:gd name="connsiteX4" fmla="*/ 1711620 w 1711620"/>
              <a:gd name="connsiteY4" fmla="*/ 558946 h 558946"/>
              <a:gd name="connsiteX0" fmla="*/ 1620180 w 1620180"/>
              <a:gd name="connsiteY0" fmla="*/ 467506 h 467506"/>
              <a:gd name="connsiteX1" fmla="*/ 0 w 1620180"/>
              <a:gd name="connsiteY1" fmla="*/ 467506 h 467506"/>
              <a:gd name="connsiteX2" fmla="*/ 0 w 1620180"/>
              <a:gd name="connsiteY2" fmla="*/ 0 h 467506"/>
              <a:gd name="connsiteX3" fmla="*/ 1620180 w 1620180"/>
              <a:gd name="connsiteY3" fmla="*/ 0 h 467506"/>
              <a:gd name="connsiteX0" fmla="*/ 0 w 1620180"/>
              <a:gd name="connsiteY0" fmla="*/ 467506 h 467506"/>
              <a:gd name="connsiteX1" fmla="*/ 0 w 1620180"/>
              <a:gd name="connsiteY1" fmla="*/ 0 h 467506"/>
              <a:gd name="connsiteX2" fmla="*/ 1620180 w 1620180"/>
              <a:gd name="connsiteY2" fmla="*/ 0 h 46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0180" h="467506">
                <a:moveTo>
                  <a:pt x="0" y="467506"/>
                </a:moveTo>
                <a:lnTo>
                  <a:pt x="0" y="0"/>
                </a:lnTo>
                <a:lnTo>
                  <a:pt x="1620180" y="0"/>
                </a:lnTo>
              </a:path>
            </a:pathLst>
          </a:custGeom>
          <a:ln w="12700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355591" indent="-355591" algn="ctr">
              <a:buClr>
                <a:schemeClr val="accent4"/>
              </a:buClr>
              <a:buFont typeface="Arial" pitchFamily="34" charset="0"/>
              <a:buChar char="&gt;"/>
            </a:pPr>
            <a:endParaRPr lang="de-DE" sz="2400" dirty="0" err="1"/>
          </a:p>
        </p:txBody>
      </p:sp>
      <p:sp>
        <p:nvSpPr>
          <p:cNvPr id="57" name="Freeform 36">
            <a:extLst>
              <a:ext uri="{FF2B5EF4-FFF2-40B4-BE49-F238E27FC236}">
                <a16:creationId xmlns:a16="http://schemas.microsoft.com/office/drawing/2014/main" id="{CF4BBF9A-9F2D-184E-4ABE-F423C5710AD7}"/>
              </a:ext>
            </a:extLst>
          </p:cNvPr>
          <p:cNvSpPr>
            <a:spLocks/>
          </p:cNvSpPr>
          <p:nvPr/>
        </p:nvSpPr>
        <p:spPr bwMode="auto">
          <a:xfrm>
            <a:off x="8400256" y="4545124"/>
            <a:ext cx="144016" cy="144491"/>
          </a:xfrm>
          <a:custGeom>
            <a:avLst/>
            <a:gdLst>
              <a:gd name="T0" fmla="*/ 165 w 200"/>
              <a:gd name="T1" fmla="*/ 65 h 200"/>
              <a:gd name="T2" fmla="*/ 147 w 200"/>
              <a:gd name="T3" fmla="*/ 65 h 200"/>
              <a:gd name="T4" fmla="*/ 147 w 200"/>
              <a:gd name="T5" fmla="*/ 83 h 200"/>
              <a:gd name="T6" fmla="*/ 152 w 200"/>
              <a:gd name="T7" fmla="*/ 87 h 200"/>
              <a:gd name="T8" fmla="*/ 112 w 200"/>
              <a:gd name="T9" fmla="*/ 87 h 200"/>
              <a:gd name="T10" fmla="*/ 112 w 200"/>
              <a:gd name="T11" fmla="*/ 48 h 200"/>
              <a:gd name="T12" fmla="*/ 117 w 200"/>
              <a:gd name="T13" fmla="*/ 53 h 200"/>
              <a:gd name="T14" fmla="*/ 135 w 200"/>
              <a:gd name="T15" fmla="*/ 53 h 200"/>
              <a:gd name="T16" fmla="*/ 135 w 200"/>
              <a:gd name="T17" fmla="*/ 35 h 200"/>
              <a:gd name="T18" fmla="*/ 100 w 200"/>
              <a:gd name="T19" fmla="*/ 0 h 200"/>
              <a:gd name="T20" fmla="*/ 65 w 200"/>
              <a:gd name="T21" fmla="*/ 35 h 200"/>
              <a:gd name="T22" fmla="*/ 65 w 200"/>
              <a:gd name="T23" fmla="*/ 53 h 200"/>
              <a:gd name="T24" fmla="*/ 82 w 200"/>
              <a:gd name="T25" fmla="*/ 53 h 200"/>
              <a:gd name="T26" fmla="*/ 87 w 200"/>
              <a:gd name="T27" fmla="*/ 48 h 200"/>
              <a:gd name="T28" fmla="*/ 87 w 200"/>
              <a:gd name="T29" fmla="*/ 87 h 200"/>
              <a:gd name="T30" fmla="*/ 48 w 200"/>
              <a:gd name="T31" fmla="*/ 87 h 200"/>
              <a:gd name="T32" fmla="*/ 52 w 200"/>
              <a:gd name="T33" fmla="*/ 83 h 200"/>
              <a:gd name="T34" fmla="*/ 52 w 200"/>
              <a:gd name="T35" fmla="*/ 65 h 200"/>
              <a:gd name="T36" fmla="*/ 35 w 200"/>
              <a:gd name="T37" fmla="*/ 65 h 200"/>
              <a:gd name="T38" fmla="*/ 0 w 200"/>
              <a:gd name="T39" fmla="*/ 100 h 200"/>
              <a:gd name="T40" fmla="*/ 35 w 200"/>
              <a:gd name="T41" fmla="*/ 135 h 200"/>
              <a:gd name="T42" fmla="*/ 52 w 200"/>
              <a:gd name="T43" fmla="*/ 135 h 200"/>
              <a:gd name="T44" fmla="*/ 52 w 200"/>
              <a:gd name="T45" fmla="*/ 117 h 200"/>
              <a:gd name="T46" fmla="*/ 48 w 200"/>
              <a:gd name="T47" fmla="*/ 112 h 200"/>
              <a:gd name="T48" fmla="*/ 87 w 200"/>
              <a:gd name="T49" fmla="*/ 112 h 200"/>
              <a:gd name="T50" fmla="*/ 87 w 200"/>
              <a:gd name="T51" fmla="*/ 152 h 200"/>
              <a:gd name="T52" fmla="*/ 82 w 200"/>
              <a:gd name="T53" fmla="*/ 147 h 200"/>
              <a:gd name="T54" fmla="*/ 65 w 200"/>
              <a:gd name="T55" fmla="*/ 147 h 200"/>
              <a:gd name="T56" fmla="*/ 65 w 200"/>
              <a:gd name="T57" fmla="*/ 165 h 200"/>
              <a:gd name="T58" fmla="*/ 100 w 200"/>
              <a:gd name="T59" fmla="*/ 200 h 200"/>
              <a:gd name="T60" fmla="*/ 135 w 200"/>
              <a:gd name="T61" fmla="*/ 165 h 200"/>
              <a:gd name="T62" fmla="*/ 135 w 200"/>
              <a:gd name="T63" fmla="*/ 147 h 200"/>
              <a:gd name="T64" fmla="*/ 117 w 200"/>
              <a:gd name="T65" fmla="*/ 147 h 200"/>
              <a:gd name="T66" fmla="*/ 112 w 200"/>
              <a:gd name="T67" fmla="*/ 152 h 200"/>
              <a:gd name="T68" fmla="*/ 112 w 200"/>
              <a:gd name="T69" fmla="*/ 112 h 200"/>
              <a:gd name="T70" fmla="*/ 152 w 200"/>
              <a:gd name="T71" fmla="*/ 112 h 200"/>
              <a:gd name="T72" fmla="*/ 147 w 200"/>
              <a:gd name="T73" fmla="*/ 117 h 200"/>
              <a:gd name="T74" fmla="*/ 147 w 200"/>
              <a:gd name="T75" fmla="*/ 135 h 200"/>
              <a:gd name="T76" fmla="*/ 165 w 200"/>
              <a:gd name="T77" fmla="*/ 135 h 200"/>
              <a:gd name="T78" fmla="*/ 200 w 200"/>
              <a:gd name="T79" fmla="*/ 100 h 200"/>
              <a:gd name="T80" fmla="*/ 165 w 200"/>
              <a:gd name="T81" fmla="*/ 65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00">
                <a:moveTo>
                  <a:pt x="165" y="65"/>
                </a:moveTo>
                <a:cubicBezTo>
                  <a:pt x="160" y="60"/>
                  <a:pt x="152" y="60"/>
                  <a:pt x="147" y="65"/>
                </a:cubicBezTo>
                <a:cubicBezTo>
                  <a:pt x="142" y="70"/>
                  <a:pt x="142" y="78"/>
                  <a:pt x="147" y="83"/>
                </a:cubicBezTo>
                <a:cubicBezTo>
                  <a:pt x="152" y="87"/>
                  <a:pt x="152" y="87"/>
                  <a:pt x="152" y="87"/>
                </a:cubicBezTo>
                <a:cubicBezTo>
                  <a:pt x="112" y="87"/>
                  <a:pt x="112" y="87"/>
                  <a:pt x="112" y="87"/>
                </a:cubicBezTo>
                <a:cubicBezTo>
                  <a:pt x="112" y="48"/>
                  <a:pt x="112" y="48"/>
                  <a:pt x="112" y="48"/>
                </a:cubicBezTo>
                <a:cubicBezTo>
                  <a:pt x="117" y="53"/>
                  <a:pt x="117" y="53"/>
                  <a:pt x="117" y="53"/>
                </a:cubicBezTo>
                <a:cubicBezTo>
                  <a:pt x="122" y="57"/>
                  <a:pt x="130" y="57"/>
                  <a:pt x="135" y="53"/>
                </a:cubicBezTo>
                <a:cubicBezTo>
                  <a:pt x="140" y="48"/>
                  <a:pt x="140" y="40"/>
                  <a:pt x="135" y="35"/>
                </a:cubicBezTo>
                <a:cubicBezTo>
                  <a:pt x="100" y="0"/>
                  <a:pt x="100" y="0"/>
                  <a:pt x="100" y="0"/>
                </a:cubicBezTo>
                <a:cubicBezTo>
                  <a:pt x="65" y="35"/>
                  <a:pt x="65" y="35"/>
                  <a:pt x="65" y="35"/>
                </a:cubicBezTo>
                <a:cubicBezTo>
                  <a:pt x="60" y="40"/>
                  <a:pt x="60" y="48"/>
                  <a:pt x="65" y="53"/>
                </a:cubicBezTo>
                <a:cubicBezTo>
                  <a:pt x="70" y="57"/>
                  <a:pt x="78" y="57"/>
                  <a:pt x="82" y="53"/>
                </a:cubicBezTo>
                <a:cubicBezTo>
                  <a:pt x="87" y="48"/>
                  <a:pt x="87" y="48"/>
                  <a:pt x="87" y="48"/>
                </a:cubicBezTo>
                <a:cubicBezTo>
                  <a:pt x="87" y="87"/>
                  <a:pt x="87" y="87"/>
                  <a:pt x="87" y="87"/>
                </a:cubicBezTo>
                <a:cubicBezTo>
                  <a:pt x="48" y="87"/>
                  <a:pt x="48" y="87"/>
                  <a:pt x="48" y="87"/>
                </a:cubicBezTo>
                <a:cubicBezTo>
                  <a:pt x="52" y="83"/>
                  <a:pt x="52" y="83"/>
                  <a:pt x="52" y="83"/>
                </a:cubicBezTo>
                <a:cubicBezTo>
                  <a:pt x="57" y="78"/>
                  <a:pt x="57" y="70"/>
                  <a:pt x="52" y="65"/>
                </a:cubicBezTo>
                <a:cubicBezTo>
                  <a:pt x="48" y="60"/>
                  <a:pt x="40" y="60"/>
                  <a:pt x="35" y="65"/>
                </a:cubicBezTo>
                <a:cubicBezTo>
                  <a:pt x="0" y="100"/>
                  <a:pt x="0" y="100"/>
                  <a:pt x="0" y="100"/>
                </a:cubicBezTo>
                <a:cubicBezTo>
                  <a:pt x="35" y="135"/>
                  <a:pt x="35" y="135"/>
                  <a:pt x="35" y="135"/>
                </a:cubicBezTo>
                <a:cubicBezTo>
                  <a:pt x="40" y="140"/>
                  <a:pt x="48" y="140"/>
                  <a:pt x="52" y="135"/>
                </a:cubicBezTo>
                <a:cubicBezTo>
                  <a:pt x="57" y="130"/>
                  <a:pt x="57" y="122"/>
                  <a:pt x="52" y="117"/>
                </a:cubicBezTo>
                <a:cubicBezTo>
                  <a:pt x="48" y="112"/>
                  <a:pt x="48" y="112"/>
                  <a:pt x="48" y="112"/>
                </a:cubicBezTo>
                <a:cubicBezTo>
                  <a:pt x="87" y="112"/>
                  <a:pt x="87" y="112"/>
                  <a:pt x="87" y="112"/>
                </a:cubicBezTo>
                <a:cubicBezTo>
                  <a:pt x="87" y="152"/>
                  <a:pt x="87" y="152"/>
                  <a:pt x="87" y="152"/>
                </a:cubicBezTo>
                <a:cubicBezTo>
                  <a:pt x="82" y="147"/>
                  <a:pt x="82" y="147"/>
                  <a:pt x="82" y="147"/>
                </a:cubicBezTo>
                <a:cubicBezTo>
                  <a:pt x="78" y="142"/>
                  <a:pt x="70" y="142"/>
                  <a:pt x="65" y="147"/>
                </a:cubicBezTo>
                <a:cubicBezTo>
                  <a:pt x="60" y="152"/>
                  <a:pt x="60" y="160"/>
                  <a:pt x="65" y="165"/>
                </a:cubicBezTo>
                <a:cubicBezTo>
                  <a:pt x="100" y="200"/>
                  <a:pt x="100" y="200"/>
                  <a:pt x="100" y="200"/>
                </a:cubicBezTo>
                <a:cubicBezTo>
                  <a:pt x="135" y="165"/>
                  <a:pt x="135" y="165"/>
                  <a:pt x="135" y="165"/>
                </a:cubicBezTo>
                <a:cubicBezTo>
                  <a:pt x="140" y="160"/>
                  <a:pt x="140" y="152"/>
                  <a:pt x="135" y="147"/>
                </a:cubicBezTo>
                <a:cubicBezTo>
                  <a:pt x="130" y="142"/>
                  <a:pt x="122" y="142"/>
                  <a:pt x="117" y="147"/>
                </a:cubicBezTo>
                <a:cubicBezTo>
                  <a:pt x="112" y="152"/>
                  <a:pt x="112" y="152"/>
                  <a:pt x="112" y="152"/>
                </a:cubicBezTo>
                <a:cubicBezTo>
                  <a:pt x="112" y="112"/>
                  <a:pt x="112" y="112"/>
                  <a:pt x="112" y="112"/>
                </a:cubicBezTo>
                <a:cubicBezTo>
                  <a:pt x="152" y="112"/>
                  <a:pt x="152" y="112"/>
                  <a:pt x="152" y="112"/>
                </a:cubicBezTo>
                <a:cubicBezTo>
                  <a:pt x="147" y="117"/>
                  <a:pt x="147" y="117"/>
                  <a:pt x="147" y="117"/>
                </a:cubicBezTo>
                <a:cubicBezTo>
                  <a:pt x="142" y="122"/>
                  <a:pt x="142" y="130"/>
                  <a:pt x="147" y="135"/>
                </a:cubicBezTo>
                <a:cubicBezTo>
                  <a:pt x="152" y="140"/>
                  <a:pt x="160" y="140"/>
                  <a:pt x="165" y="135"/>
                </a:cubicBezTo>
                <a:cubicBezTo>
                  <a:pt x="200" y="100"/>
                  <a:pt x="200" y="100"/>
                  <a:pt x="200" y="100"/>
                </a:cubicBezTo>
                <a:lnTo>
                  <a:pt x="165" y="65"/>
                </a:lnTo>
                <a:close/>
              </a:path>
            </a:pathLst>
          </a:custGeom>
          <a:solidFill>
            <a:schemeClr val="tx1"/>
          </a:solidFill>
          <a:ln w="63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AF123BE7-52D6-C949-CFDA-2CED0875116A}"/>
              </a:ext>
            </a:extLst>
          </p:cNvPr>
          <p:cNvSpPr txBox="1"/>
          <p:nvPr/>
        </p:nvSpPr>
        <p:spPr>
          <a:xfrm>
            <a:off x="5771964" y="4653136"/>
            <a:ext cx="1764196" cy="612068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r>
              <a:rPr lang="de-DE" dirty="0">
                <a:latin typeface="+mn-lt"/>
              </a:rPr>
              <a:t>Mit dem Cursor kannst du die Position des Bildes </a:t>
            </a:r>
            <a:r>
              <a:rPr lang="de-DE" b="1" dirty="0">
                <a:latin typeface="+mn-lt"/>
              </a:rPr>
              <a:t>im</a:t>
            </a:r>
            <a:r>
              <a:rPr lang="de-DE" dirty="0">
                <a:latin typeface="+mn-lt"/>
              </a:rPr>
              <a:t> Platzhalter verändern.</a:t>
            </a:r>
          </a:p>
        </p:txBody>
      </p:sp>
      <p:sp>
        <p:nvSpPr>
          <p:cNvPr id="59" name="Rechteck 13">
            <a:extLst>
              <a:ext uri="{FF2B5EF4-FFF2-40B4-BE49-F238E27FC236}">
                <a16:creationId xmlns:a16="http://schemas.microsoft.com/office/drawing/2014/main" id="{A34CB476-E16E-832E-1B41-2F090661081C}"/>
              </a:ext>
            </a:extLst>
          </p:cNvPr>
          <p:cNvSpPr/>
          <p:nvPr/>
        </p:nvSpPr>
        <p:spPr>
          <a:xfrm rot="5400000" flipH="1">
            <a:off x="7878198" y="4383106"/>
            <a:ext cx="216024" cy="972108"/>
          </a:xfrm>
          <a:custGeom>
            <a:avLst/>
            <a:gdLst>
              <a:gd name="connsiteX0" fmla="*/ 0 w 1620180"/>
              <a:gd name="connsiteY0" fmla="*/ 0 h 467506"/>
              <a:gd name="connsiteX1" fmla="*/ 1620180 w 1620180"/>
              <a:gd name="connsiteY1" fmla="*/ 0 h 467506"/>
              <a:gd name="connsiteX2" fmla="*/ 1620180 w 1620180"/>
              <a:gd name="connsiteY2" fmla="*/ 467506 h 467506"/>
              <a:gd name="connsiteX3" fmla="*/ 0 w 1620180"/>
              <a:gd name="connsiteY3" fmla="*/ 467506 h 467506"/>
              <a:gd name="connsiteX4" fmla="*/ 0 w 1620180"/>
              <a:gd name="connsiteY4" fmla="*/ 0 h 467506"/>
              <a:gd name="connsiteX0" fmla="*/ 1620180 w 1711620"/>
              <a:gd name="connsiteY0" fmla="*/ 467506 h 558946"/>
              <a:gd name="connsiteX1" fmla="*/ 0 w 1711620"/>
              <a:gd name="connsiteY1" fmla="*/ 467506 h 558946"/>
              <a:gd name="connsiteX2" fmla="*/ 0 w 1711620"/>
              <a:gd name="connsiteY2" fmla="*/ 0 h 558946"/>
              <a:gd name="connsiteX3" fmla="*/ 1620180 w 1711620"/>
              <a:gd name="connsiteY3" fmla="*/ 0 h 558946"/>
              <a:gd name="connsiteX4" fmla="*/ 1711620 w 1711620"/>
              <a:gd name="connsiteY4" fmla="*/ 558946 h 558946"/>
              <a:gd name="connsiteX0" fmla="*/ 1620180 w 1620180"/>
              <a:gd name="connsiteY0" fmla="*/ 467506 h 467506"/>
              <a:gd name="connsiteX1" fmla="*/ 0 w 1620180"/>
              <a:gd name="connsiteY1" fmla="*/ 467506 h 467506"/>
              <a:gd name="connsiteX2" fmla="*/ 0 w 1620180"/>
              <a:gd name="connsiteY2" fmla="*/ 0 h 467506"/>
              <a:gd name="connsiteX3" fmla="*/ 1620180 w 1620180"/>
              <a:gd name="connsiteY3" fmla="*/ 0 h 467506"/>
              <a:gd name="connsiteX0" fmla="*/ 0 w 1620180"/>
              <a:gd name="connsiteY0" fmla="*/ 467506 h 467506"/>
              <a:gd name="connsiteX1" fmla="*/ 0 w 1620180"/>
              <a:gd name="connsiteY1" fmla="*/ 0 h 467506"/>
              <a:gd name="connsiteX2" fmla="*/ 1620180 w 1620180"/>
              <a:gd name="connsiteY2" fmla="*/ 0 h 46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20180" h="467506">
                <a:moveTo>
                  <a:pt x="0" y="467506"/>
                </a:moveTo>
                <a:lnTo>
                  <a:pt x="0" y="0"/>
                </a:lnTo>
                <a:lnTo>
                  <a:pt x="1620180" y="0"/>
                </a:lnTo>
              </a:path>
            </a:pathLst>
          </a:custGeom>
          <a:ln w="12700">
            <a:solidFill>
              <a:srgbClr val="00B0F0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355591" indent="-355591" algn="ctr">
              <a:buClr>
                <a:schemeClr val="accent4"/>
              </a:buClr>
              <a:buFont typeface="Arial" pitchFamily="34" charset="0"/>
              <a:buChar char="&gt;"/>
            </a:pPr>
            <a:endParaRPr lang="de-DE" sz="2400" dirty="0" err="1"/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A0ABF0AE-EB45-761C-16DA-E876E270F496}"/>
              </a:ext>
            </a:extLst>
          </p:cNvPr>
          <p:cNvSpPr txBox="1"/>
          <p:nvPr/>
        </p:nvSpPr>
        <p:spPr>
          <a:xfrm>
            <a:off x="7464152" y="1885204"/>
            <a:ext cx="2628985" cy="612068"/>
          </a:xfrm>
          <a:prstGeom prst="rect">
            <a:avLst/>
          </a:prstGeom>
          <a:solidFill>
            <a:srgbClr val="00B0F0"/>
          </a:solidFill>
        </p:spPr>
        <p:txBody>
          <a:bodyPr lIns="108000" tIns="72000" rIns="108000" bIns="72000">
            <a:noAutofit/>
          </a:bodyPr>
          <a:lstStyle>
            <a:defPPr>
              <a:defRPr lang="de-DE"/>
            </a:defPPr>
            <a:lvl1pPr>
              <a:spcAft>
                <a:spcPts val="181"/>
              </a:spcAft>
              <a:defRPr sz="1000">
                <a:solidFill>
                  <a:schemeClr val="bg1"/>
                </a:solidFill>
                <a:latin typeface="+mj-lt"/>
              </a:defRPr>
            </a:lvl1pPr>
            <a:lvl3pPr marL="180000" lvl="2" indent="-180000">
              <a:spcAft>
                <a:spcPts val="200"/>
              </a:spcAft>
              <a:buClr>
                <a:schemeClr val="bg1"/>
              </a:buClr>
              <a:buFont typeface="Georgia" panose="02040502050405020303" pitchFamily="18" charset="0"/>
              <a:buChar char="●"/>
              <a:defRPr sz="1000">
                <a:solidFill>
                  <a:schemeClr val="bg1"/>
                </a:solidFill>
              </a:defRPr>
            </a:lvl3pPr>
          </a:lstStyle>
          <a:p>
            <a:r>
              <a:rPr lang="de-DE" dirty="0">
                <a:latin typeface="+mn-lt"/>
              </a:rPr>
              <a:t>Bitte ziehe das eingefügte Bild nur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an den Eckpunkten mit gedrückter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Shift-Taste in die entsprechende Größe.</a:t>
            </a:r>
          </a:p>
        </p:txBody>
      </p:sp>
    </p:spTree>
    <p:extLst>
      <p:ext uri="{BB962C8B-B14F-4D97-AF65-F5344CB8AC3E}">
        <p14:creationId xmlns:p14="http://schemas.microsoft.com/office/powerpoint/2010/main" val="60215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2JyReWkOlaPAPWjbg7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Lc7rbvTsmHGCnwwDhG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2JyReWkOlaPAPWjbg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2JyReWkOlaPAPWjbg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hKnq_aQomqfx4OpQNm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hKnq_aQomqfx4OpQNm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qCf0eQSiOjNUjaLvttbQ"/>
</p:tagLst>
</file>

<file path=ppt/theme/theme1.xml><?xml version="1.0" encoding="utf-8"?>
<a:theme xmlns:a="http://schemas.openxmlformats.org/drawingml/2006/main" name="Master EnBW 2022">
  <a:themeElements>
    <a:clrScheme name="EnBW LAB">
      <a:dk1>
        <a:sysClr val="windowText" lastClr="000000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7112022_EnBW_Master.potx" id="{6B2F2B24-0FEE-4885-9A52-7C68FE293324}" vid="{4F37FA04-54CA-4F2E-93F2-B702E8263AEB}"/>
    </a:ext>
  </a:extLst>
</a:theme>
</file>

<file path=ppt/theme/theme2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153D49D07ABE489A0D48DC32A05FDD" ma:contentTypeVersion="16" ma:contentTypeDescription="Ein neues Dokument erstellen." ma:contentTypeScope="" ma:versionID="1ee1bb98fd23192587116c919ae58c43">
  <xsd:schema xmlns:xsd="http://www.w3.org/2001/XMLSchema" xmlns:xs="http://www.w3.org/2001/XMLSchema" xmlns:p="http://schemas.microsoft.com/office/2006/metadata/properties" xmlns:ns2="c1aa9761-88b0-4a65-95b7-7ee512a36635" xmlns:ns3="70d06a57-6f37-4bbb-a0af-a6d87581ce7e" targetNamespace="http://schemas.microsoft.com/office/2006/metadata/properties" ma:root="true" ma:fieldsID="e80302625ca621bf952eee60a91fba89" ns2:_="" ns3:_="">
    <xsd:import namespace="c1aa9761-88b0-4a65-95b7-7ee512a36635"/>
    <xsd:import namespace="70d06a57-6f37-4bbb-a0af-a6d87581ce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aa9761-88b0-4a65-95b7-7ee512a366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9f0a6b4a-b7c4-413f-af6f-5d487f04a03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d06a57-6f37-4bbb-a0af-a6d87581ce7e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0f61c2b-7ab6-4a13-aeed-39d56d7e86cd}" ma:internalName="TaxCatchAll" ma:showField="CatchAllData" ma:web="70d06a57-6f37-4bbb-a0af-a6d87581ce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F965E7-3350-4877-BCB3-497B6ECBBBC5}"/>
</file>

<file path=customXml/itemProps2.xml><?xml version="1.0" encoding="utf-8"?>
<ds:datastoreItem xmlns:ds="http://schemas.openxmlformats.org/officeDocument/2006/customXml" ds:itemID="{C6256491-9D89-40BA-B985-F44BCB5F63FD}"/>
</file>

<file path=docProps/app.xml><?xml version="1.0" encoding="utf-8"?>
<Properties xmlns="http://schemas.openxmlformats.org/officeDocument/2006/extended-properties" xmlns:vt="http://schemas.openxmlformats.org/officeDocument/2006/docPropsVTypes">
  <Template>17112022_EnBW_Master</Template>
  <TotalTime>0</TotalTime>
  <Words>819</Words>
  <Application>Microsoft Office PowerPoint</Application>
  <PresentationFormat>Breitbild</PresentationFormat>
  <Paragraphs>135</Paragraphs>
  <Slides>1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21" baseType="lpstr">
      <vt:lpstr>Arial</vt:lpstr>
      <vt:lpstr>Calibri</vt:lpstr>
      <vt:lpstr>EnBW DIN Pro</vt:lpstr>
      <vt:lpstr>EnBW DIN Pro Medium</vt:lpstr>
      <vt:lpstr>Georgia</vt:lpstr>
      <vt:lpstr>Mark OT Medium</vt:lpstr>
      <vt:lpstr>Wingdings</vt:lpstr>
      <vt:lpstr>Wingdings 2</vt:lpstr>
      <vt:lpstr>Master EnBW 2022</vt:lpstr>
      <vt:lpstr>think-cell Folie</vt:lpstr>
      <vt:lpstr>„How-to-use“ Guideline für PowerPoint</vt:lpstr>
      <vt:lpstr>Farben</vt:lpstr>
      <vt:lpstr>Wichtige Grundeinstellungen </vt:lpstr>
      <vt:lpstr>Grunddesign</vt:lpstr>
      <vt:lpstr>Lineal und Raster</vt:lpstr>
      <vt:lpstr>Layouts und Führungslinien</vt:lpstr>
      <vt:lpstr>Tabulatoren und Ebenensprünge</vt:lpstr>
      <vt:lpstr>Bearbeiten von Bildern</vt:lpstr>
      <vt:lpstr>Bearbeiten von Titelbildern</vt:lpstr>
      <vt:lpstr>Figma – Design Guide</vt:lpstr>
      <vt:lpstr>Zum Schlus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„How-to-use“ Guideline für PowerPoint</dc:title>
  <dc:creator>Josefine</dc:creator>
  <cp:lastModifiedBy>Josefine</cp:lastModifiedBy>
  <cp:revision>3</cp:revision>
  <dcterms:created xsi:type="dcterms:W3CDTF">2023-01-03T09:37:46Z</dcterms:created>
  <dcterms:modified xsi:type="dcterms:W3CDTF">2023-01-03T10:32:48Z</dcterms:modified>
</cp:coreProperties>
</file>